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8"/>
  </p:notesMasterIdLst>
  <p:sldIdLst>
    <p:sldId id="256" r:id="rId2"/>
    <p:sldId id="258" r:id="rId3"/>
    <p:sldId id="259" r:id="rId4"/>
    <p:sldId id="261" r:id="rId5"/>
    <p:sldId id="262" r:id="rId6"/>
    <p:sldId id="263" r:id="rId7"/>
  </p:sldIdLst>
  <p:sldSz cx="12192000" cy="6858000"/>
  <p:notesSz cx="12192000" cy="6858000"/>
  <p:custDataLst>
    <p:tags r:id="rId9"/>
  </p:custDataLst>
  <p:defaultTextStyle>
    <a:defPPr>
      <a:defRPr kern="0"/>
    </a:def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74" d="100"/>
          <a:sy n="74" d="100"/>
        </p:scale>
        <p:origin x="352" y="60"/>
      </p:cViewPr>
      <p:guideLst>
        <p:guide orient="horz" pos="2880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ndres rendo sanchez" userId="1d3ea28edc38020e" providerId="LiveId" clId="{3BD962A6-F0B6-44FD-AC67-0D68B3BD6415}"/>
    <pc:docChg chg="delSld">
      <pc:chgData name="andres rendo sanchez" userId="1d3ea28edc38020e" providerId="LiveId" clId="{3BD962A6-F0B6-44FD-AC67-0D68B3BD6415}" dt="2024-01-29T23:41:32.023" v="2" actId="47"/>
      <pc:docMkLst>
        <pc:docMk/>
      </pc:docMkLst>
      <pc:sldChg chg="del">
        <pc:chgData name="andres rendo sanchez" userId="1d3ea28edc38020e" providerId="LiveId" clId="{3BD962A6-F0B6-44FD-AC67-0D68B3BD6415}" dt="2024-01-29T23:41:22.114" v="1" actId="47"/>
        <pc:sldMkLst>
          <pc:docMk/>
          <pc:sldMk cId="0" sldId="257"/>
        </pc:sldMkLst>
      </pc:sldChg>
      <pc:sldChg chg="del">
        <pc:chgData name="andres rendo sanchez" userId="1d3ea28edc38020e" providerId="LiveId" clId="{3BD962A6-F0B6-44FD-AC67-0D68B3BD6415}" dt="2024-01-29T23:41:32.023" v="2" actId="47"/>
        <pc:sldMkLst>
          <pc:docMk/>
          <pc:sldMk cId="0" sldId="264"/>
        </pc:sldMkLst>
      </pc:sldChg>
      <pc:sldChg chg="del">
        <pc:chgData name="andres rendo sanchez" userId="1d3ea28edc38020e" providerId="LiveId" clId="{3BD962A6-F0B6-44FD-AC67-0D68B3BD6415}" dt="2024-01-29T23:41:15.118" v="0" actId="47"/>
        <pc:sldMkLst>
          <pc:docMk/>
          <pc:sldMk cId="3486090565" sldId="265"/>
        </pc:sldMkLst>
      </pc:sldChg>
    </pc:docChg>
  </pc:docChgLst>
  <pc:docChgLst>
    <pc:chgData name="andres rendo sanchez" userId="1d3ea28edc38020e" providerId="LiveId" clId="{F9C67CD8-B29B-4CB3-9FF0-5A12288B9F19}"/>
    <pc:docChg chg="custSel modSld">
      <pc:chgData name="andres rendo sanchez" userId="1d3ea28edc38020e" providerId="LiveId" clId="{F9C67CD8-B29B-4CB3-9FF0-5A12288B9F19}" dt="2023-01-27T20:39:36.327" v="496" actId="313"/>
      <pc:docMkLst>
        <pc:docMk/>
      </pc:docMkLst>
      <pc:sldChg chg="modSp mod">
        <pc:chgData name="andres rendo sanchez" userId="1d3ea28edc38020e" providerId="LiveId" clId="{F9C67CD8-B29B-4CB3-9FF0-5A12288B9F19}" dt="2023-01-27T00:33:00.201" v="26" actId="20577"/>
        <pc:sldMkLst>
          <pc:docMk/>
          <pc:sldMk cId="0" sldId="256"/>
        </pc:sldMkLst>
        <pc:spChg chg="mod">
          <ac:chgData name="andres rendo sanchez" userId="1d3ea28edc38020e" providerId="LiveId" clId="{F9C67CD8-B29B-4CB3-9FF0-5A12288B9F19}" dt="2023-01-27T00:33:00.201" v="26" actId="20577"/>
          <ac:spMkLst>
            <pc:docMk/>
            <pc:sldMk cId="0" sldId="256"/>
            <ac:spMk id="10" creationId="{0FED9D75-2920-1EF4-100A-E1F3BC1EA4DB}"/>
          </ac:spMkLst>
        </pc:spChg>
      </pc:sldChg>
      <pc:sldChg chg="modSp mod">
        <pc:chgData name="andres rendo sanchez" userId="1d3ea28edc38020e" providerId="LiveId" clId="{F9C67CD8-B29B-4CB3-9FF0-5A12288B9F19}" dt="2023-01-27T20:39:36.327" v="496" actId="313"/>
        <pc:sldMkLst>
          <pc:docMk/>
          <pc:sldMk cId="0" sldId="258"/>
        </pc:sldMkLst>
        <pc:spChg chg="mod">
          <ac:chgData name="andres rendo sanchez" userId="1d3ea28edc38020e" providerId="LiveId" clId="{F9C67CD8-B29B-4CB3-9FF0-5A12288B9F19}" dt="2023-01-27T20:39:36.327" v="496" actId="313"/>
          <ac:spMkLst>
            <pc:docMk/>
            <pc:sldMk cId="0" sldId="258"/>
            <ac:spMk id="2" creationId="{00000000-0000-0000-0000-000000000000}"/>
          </ac:spMkLst>
        </pc:spChg>
      </pc:sldChg>
      <pc:sldChg chg="modSp mod">
        <pc:chgData name="andres rendo sanchez" userId="1d3ea28edc38020e" providerId="LiveId" clId="{F9C67CD8-B29B-4CB3-9FF0-5A12288B9F19}" dt="2023-01-27T20:37:48.511" v="340" actId="20577"/>
        <pc:sldMkLst>
          <pc:docMk/>
          <pc:sldMk cId="0" sldId="261"/>
        </pc:sldMkLst>
        <pc:spChg chg="mod">
          <ac:chgData name="andres rendo sanchez" userId="1d3ea28edc38020e" providerId="LiveId" clId="{F9C67CD8-B29B-4CB3-9FF0-5A12288B9F19}" dt="2023-01-27T20:37:48.511" v="340" actId="20577"/>
          <ac:spMkLst>
            <pc:docMk/>
            <pc:sldMk cId="0" sldId="261"/>
            <ac:spMk id="2" creationId="{00000000-0000-0000-0000-000000000000}"/>
          </ac:spMkLst>
        </pc:spChg>
      </pc:sldChg>
      <pc:sldChg chg="modSp mod">
        <pc:chgData name="andres rendo sanchez" userId="1d3ea28edc38020e" providerId="LiveId" clId="{F9C67CD8-B29B-4CB3-9FF0-5A12288B9F19}" dt="2023-01-27T20:36:03.767" v="142" actId="20577"/>
        <pc:sldMkLst>
          <pc:docMk/>
          <pc:sldMk cId="0" sldId="263"/>
        </pc:sldMkLst>
        <pc:spChg chg="mod">
          <ac:chgData name="andres rendo sanchez" userId="1d3ea28edc38020e" providerId="LiveId" clId="{F9C67CD8-B29B-4CB3-9FF0-5A12288B9F19}" dt="2023-01-27T20:36:03.767" v="142" actId="20577"/>
          <ac:spMkLst>
            <pc:docMk/>
            <pc:sldMk cId="0" sldId="263"/>
            <ac:spMk id="2" creationId="{00000000-0000-0000-0000-000000000000}"/>
          </ac:spMkLst>
        </pc:spChg>
      </pc:sldChg>
      <pc:sldChg chg="modSp mod">
        <pc:chgData name="andres rendo sanchez" userId="1d3ea28edc38020e" providerId="LiveId" clId="{F9C67CD8-B29B-4CB3-9FF0-5A12288B9F19}" dt="2023-01-27T20:34:44.336" v="29" actId="20577"/>
        <pc:sldMkLst>
          <pc:docMk/>
          <pc:sldMk cId="0" sldId="264"/>
        </pc:sldMkLst>
        <pc:spChg chg="mod">
          <ac:chgData name="andres rendo sanchez" userId="1d3ea28edc38020e" providerId="LiveId" clId="{F9C67CD8-B29B-4CB3-9FF0-5A12288B9F19}" dt="2023-01-27T20:34:15.668" v="27" actId="1076"/>
          <ac:spMkLst>
            <pc:docMk/>
            <pc:sldMk cId="0" sldId="264"/>
            <ac:spMk id="2" creationId="{00000000-0000-0000-0000-000000000000}"/>
          </ac:spMkLst>
        </pc:spChg>
        <pc:spChg chg="mod">
          <ac:chgData name="andres rendo sanchez" userId="1d3ea28edc38020e" providerId="LiveId" clId="{F9C67CD8-B29B-4CB3-9FF0-5A12288B9F19}" dt="2023-01-27T20:34:44.336" v="29" actId="20577"/>
          <ac:spMkLst>
            <pc:docMk/>
            <pc:sldMk cId="0" sldId="264"/>
            <ac:spMk id="3" creationId="{00000000-0000-0000-0000-000000000000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6905625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49A5C90-F38B-412D-BB4F-B4956FC3C419}" type="datetimeFigureOut">
              <a:rPr lang="es-MX" smtClean="0"/>
              <a:t>29/01/2024</a:t>
            </a:fld>
            <a:endParaRPr lang="es-MX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4038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MX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1219200" y="3300413"/>
            <a:ext cx="9753600" cy="2700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6905625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839C8A4-1415-4DF1-8798-354274A66500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7862235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914400" y="2125980"/>
            <a:ext cx="103632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4400" b="1" i="0">
                <a:solidFill>
                  <a:schemeClr val="bg1"/>
                </a:solidFill>
                <a:latin typeface="Sitka Heading"/>
                <a:cs typeface="Sitka Heading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750" b="1" i="0">
                <a:solidFill>
                  <a:schemeClr val="bg1"/>
                </a:solidFill>
                <a:latin typeface="Sitka Heading"/>
                <a:cs typeface="Sitka Heading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/29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A7D0BD1D-B33C-086D-B481-C09CD2761C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504010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425" imgH="424" progId="TCLayout.ActiveDocument.1">
                  <p:embed/>
                </p:oleObj>
              </mc:Choice>
              <mc:Fallback>
                <p:oleObj name="Diapositiva de think-cell" r:id="rId3" imgW="425" imgH="424" progId="TCLayout.ActiveDocument.1">
                  <p:embed/>
                  <p:pic>
                    <p:nvPicPr>
                      <p:cNvPr id="8" name="Objeto 7" hidden="1">
                        <a:extLst>
                          <a:ext uri="{FF2B5EF4-FFF2-40B4-BE49-F238E27FC236}">
                            <a16:creationId xmlns:a16="http://schemas.microsoft.com/office/drawing/2014/main" id="{A7D0BD1D-B33C-086D-B481-C09CD2761C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object 3">
            <a:extLst>
              <a:ext uri="{FF2B5EF4-FFF2-40B4-BE49-F238E27FC236}">
                <a16:creationId xmlns:a16="http://schemas.microsoft.com/office/drawing/2014/main" id="{9991C321-FCFB-7457-6339-BE7891985AD3}"/>
              </a:ext>
            </a:extLst>
          </p:cNvPr>
          <p:cNvPicPr/>
          <p:nvPr userDrawn="1"/>
        </p:nvPicPr>
        <p:blipFill>
          <a:blip r:embed="rId5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Rectángulo 8">
            <a:extLst>
              <a:ext uri="{FF2B5EF4-FFF2-40B4-BE49-F238E27FC236}">
                <a16:creationId xmlns:a16="http://schemas.microsoft.com/office/drawing/2014/main" id="{385C560A-11B1-15C1-49B9-E523D79AADD5}"/>
              </a:ext>
            </a:extLst>
          </p:cNvPr>
          <p:cNvSpPr/>
          <p:nvPr userDrawn="1"/>
        </p:nvSpPr>
        <p:spPr>
          <a:xfrm>
            <a:off x="0" y="0"/>
            <a:ext cx="12192000" cy="6850000"/>
          </a:xfrm>
          <a:prstGeom prst="rect">
            <a:avLst/>
          </a:prstGeom>
          <a:solidFill>
            <a:srgbClr val="000000">
              <a:alpha val="902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pic>
        <p:nvPicPr>
          <p:cNvPr id="17" name="bg object 17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17462" y="8000"/>
            <a:ext cx="6632566" cy="4498886"/>
          </a:xfrm>
          <a:prstGeom prst="rect">
            <a:avLst/>
          </a:prstGeom>
        </p:spPr>
      </p:pic>
      <p:sp>
        <p:nvSpPr>
          <p:cNvPr id="18" name="bg object 18"/>
          <p:cNvSpPr/>
          <p:nvPr/>
        </p:nvSpPr>
        <p:spPr>
          <a:xfrm>
            <a:off x="8663051" y="3281426"/>
            <a:ext cx="3524250" cy="3576954"/>
          </a:xfrm>
          <a:custGeom>
            <a:avLst/>
            <a:gdLst/>
            <a:ahLst/>
            <a:cxnLst/>
            <a:rect l="l" t="t" r="r" b="b"/>
            <a:pathLst>
              <a:path w="3524250" h="3576954">
                <a:moveTo>
                  <a:pt x="0" y="3562286"/>
                </a:moveTo>
                <a:lnTo>
                  <a:pt x="32242" y="3515796"/>
                </a:lnTo>
                <a:lnTo>
                  <a:pt x="70866" y="3474346"/>
                </a:lnTo>
                <a:lnTo>
                  <a:pt x="107653" y="3439186"/>
                </a:lnTo>
                <a:lnTo>
                  <a:pt x="141684" y="3401386"/>
                </a:lnTo>
                <a:lnTo>
                  <a:pt x="173720" y="3361678"/>
                </a:lnTo>
                <a:lnTo>
                  <a:pt x="204517" y="3320793"/>
                </a:lnTo>
                <a:lnTo>
                  <a:pt x="234834" y="3279464"/>
                </a:lnTo>
                <a:lnTo>
                  <a:pt x="265429" y="3238423"/>
                </a:lnTo>
                <a:lnTo>
                  <a:pt x="298856" y="3195395"/>
                </a:lnTo>
                <a:lnTo>
                  <a:pt x="333200" y="3153108"/>
                </a:lnTo>
                <a:lnTo>
                  <a:pt x="368710" y="3111825"/>
                </a:lnTo>
                <a:lnTo>
                  <a:pt x="405638" y="3071812"/>
                </a:lnTo>
                <a:lnTo>
                  <a:pt x="441182" y="3036200"/>
                </a:lnTo>
                <a:lnTo>
                  <a:pt x="478059" y="3002070"/>
                </a:lnTo>
                <a:lnTo>
                  <a:pt x="516223" y="2969406"/>
                </a:lnTo>
                <a:lnTo>
                  <a:pt x="555625" y="2938195"/>
                </a:lnTo>
                <a:lnTo>
                  <a:pt x="599571" y="2905972"/>
                </a:lnTo>
                <a:lnTo>
                  <a:pt x="644473" y="2875099"/>
                </a:lnTo>
                <a:lnTo>
                  <a:pt x="690038" y="2845157"/>
                </a:lnTo>
                <a:lnTo>
                  <a:pt x="735974" y="2815723"/>
                </a:lnTo>
                <a:lnTo>
                  <a:pt x="781987" y="2786378"/>
                </a:lnTo>
                <a:lnTo>
                  <a:pt x="827785" y="2756700"/>
                </a:lnTo>
                <a:lnTo>
                  <a:pt x="872701" y="2726687"/>
                </a:lnTo>
                <a:lnTo>
                  <a:pt x="917299" y="2696159"/>
                </a:lnTo>
                <a:lnTo>
                  <a:pt x="961690" y="2665296"/>
                </a:lnTo>
                <a:lnTo>
                  <a:pt x="1005984" y="2634278"/>
                </a:lnTo>
                <a:lnTo>
                  <a:pt x="1050290" y="2603284"/>
                </a:lnTo>
                <a:lnTo>
                  <a:pt x="1088020" y="2577168"/>
                </a:lnTo>
                <a:lnTo>
                  <a:pt x="1126091" y="2551602"/>
                </a:lnTo>
                <a:lnTo>
                  <a:pt x="1164754" y="2527051"/>
                </a:lnTo>
                <a:lnTo>
                  <a:pt x="1204258" y="2503979"/>
                </a:lnTo>
                <a:lnTo>
                  <a:pt x="1244853" y="2482850"/>
                </a:lnTo>
                <a:lnTo>
                  <a:pt x="1289226" y="2463072"/>
                </a:lnTo>
                <a:lnTo>
                  <a:pt x="1334849" y="2447023"/>
                </a:lnTo>
                <a:lnTo>
                  <a:pt x="1381638" y="2436108"/>
                </a:lnTo>
                <a:lnTo>
                  <a:pt x="1429512" y="2431732"/>
                </a:lnTo>
                <a:lnTo>
                  <a:pt x="1464431" y="2432987"/>
                </a:lnTo>
                <a:lnTo>
                  <a:pt x="1499123" y="2437093"/>
                </a:lnTo>
                <a:lnTo>
                  <a:pt x="1533650" y="2443049"/>
                </a:lnTo>
                <a:lnTo>
                  <a:pt x="1568069" y="2449855"/>
                </a:lnTo>
                <a:lnTo>
                  <a:pt x="1597642" y="2455565"/>
                </a:lnTo>
                <a:lnTo>
                  <a:pt x="1657026" y="2465528"/>
                </a:lnTo>
                <a:lnTo>
                  <a:pt x="1713251" y="2472490"/>
                </a:lnTo>
                <a:lnTo>
                  <a:pt x="1739725" y="2473815"/>
                </a:lnTo>
                <a:lnTo>
                  <a:pt x="1766127" y="2473066"/>
                </a:lnTo>
                <a:lnTo>
                  <a:pt x="1835384" y="2456992"/>
                </a:lnTo>
                <a:lnTo>
                  <a:pt x="1875726" y="2437212"/>
                </a:lnTo>
                <a:lnTo>
                  <a:pt x="1913973" y="2412631"/>
                </a:lnTo>
                <a:lnTo>
                  <a:pt x="1950720" y="2385555"/>
                </a:lnTo>
                <a:lnTo>
                  <a:pt x="1991365" y="2353778"/>
                </a:lnTo>
                <a:lnTo>
                  <a:pt x="2032142" y="2322195"/>
                </a:lnTo>
                <a:lnTo>
                  <a:pt x="2074181" y="2292640"/>
                </a:lnTo>
                <a:lnTo>
                  <a:pt x="2118614" y="2266950"/>
                </a:lnTo>
                <a:lnTo>
                  <a:pt x="2163119" y="2247376"/>
                </a:lnTo>
                <a:lnTo>
                  <a:pt x="2225236" y="2224170"/>
                </a:lnTo>
                <a:lnTo>
                  <a:pt x="2272299" y="2207196"/>
                </a:lnTo>
                <a:lnTo>
                  <a:pt x="2319482" y="2190507"/>
                </a:lnTo>
                <a:lnTo>
                  <a:pt x="2366772" y="2173986"/>
                </a:lnTo>
                <a:lnTo>
                  <a:pt x="2397061" y="2163244"/>
                </a:lnTo>
                <a:lnTo>
                  <a:pt x="2457211" y="2140428"/>
                </a:lnTo>
                <a:lnTo>
                  <a:pt x="2512891" y="2115290"/>
                </a:lnTo>
                <a:lnTo>
                  <a:pt x="2563100" y="2086735"/>
                </a:lnTo>
                <a:lnTo>
                  <a:pt x="2611272" y="2051827"/>
                </a:lnTo>
                <a:lnTo>
                  <a:pt x="2656266" y="2010330"/>
                </a:lnTo>
                <a:lnTo>
                  <a:pt x="2691897" y="1969547"/>
                </a:lnTo>
                <a:lnTo>
                  <a:pt x="2720072" y="1931670"/>
                </a:lnTo>
                <a:lnTo>
                  <a:pt x="2753423" y="1881455"/>
                </a:lnTo>
                <a:lnTo>
                  <a:pt x="2773235" y="1850691"/>
                </a:lnTo>
                <a:lnTo>
                  <a:pt x="2793428" y="1820189"/>
                </a:lnTo>
                <a:lnTo>
                  <a:pt x="2839509" y="1758505"/>
                </a:lnTo>
                <a:lnTo>
                  <a:pt x="2866040" y="1728025"/>
                </a:lnTo>
                <a:lnTo>
                  <a:pt x="2894048" y="1698879"/>
                </a:lnTo>
                <a:lnTo>
                  <a:pt x="2923413" y="1671066"/>
                </a:lnTo>
                <a:lnTo>
                  <a:pt x="2974816" y="1626584"/>
                </a:lnTo>
                <a:lnTo>
                  <a:pt x="3000422" y="1604271"/>
                </a:lnTo>
                <a:lnTo>
                  <a:pt x="3044130" y="1561849"/>
                </a:lnTo>
                <a:lnTo>
                  <a:pt x="3079095" y="1520821"/>
                </a:lnTo>
                <a:lnTo>
                  <a:pt x="3113609" y="1472114"/>
                </a:lnTo>
                <a:lnTo>
                  <a:pt x="3145911" y="1415206"/>
                </a:lnTo>
                <a:lnTo>
                  <a:pt x="3174492" y="1347418"/>
                </a:lnTo>
                <a:lnTo>
                  <a:pt x="3186779" y="1308512"/>
                </a:lnTo>
                <a:lnTo>
                  <a:pt x="3196637" y="1268892"/>
                </a:lnTo>
                <a:lnTo>
                  <a:pt x="3204209" y="1228725"/>
                </a:lnTo>
                <a:lnTo>
                  <a:pt x="3210764" y="1173253"/>
                </a:lnTo>
                <a:lnTo>
                  <a:pt x="3212083" y="1154684"/>
                </a:lnTo>
                <a:lnTo>
                  <a:pt x="3218931" y="1108666"/>
                </a:lnTo>
                <a:lnTo>
                  <a:pt x="3232189" y="1062628"/>
                </a:lnTo>
                <a:lnTo>
                  <a:pt x="3249651" y="1016572"/>
                </a:lnTo>
                <a:lnTo>
                  <a:pt x="3269106" y="970502"/>
                </a:lnTo>
                <a:lnTo>
                  <a:pt x="3288348" y="924419"/>
                </a:lnTo>
                <a:lnTo>
                  <a:pt x="3305167" y="878328"/>
                </a:lnTo>
                <a:lnTo>
                  <a:pt x="3317354" y="832230"/>
                </a:lnTo>
                <a:lnTo>
                  <a:pt x="3322701" y="786130"/>
                </a:lnTo>
                <a:lnTo>
                  <a:pt x="3324831" y="732733"/>
                </a:lnTo>
                <a:lnTo>
                  <a:pt x="3328343" y="679432"/>
                </a:lnTo>
                <a:lnTo>
                  <a:pt x="3333001" y="626213"/>
                </a:lnTo>
                <a:lnTo>
                  <a:pt x="3338570" y="573063"/>
                </a:lnTo>
                <a:lnTo>
                  <a:pt x="3344814" y="519968"/>
                </a:lnTo>
                <a:lnTo>
                  <a:pt x="3351499" y="466916"/>
                </a:lnTo>
                <a:lnTo>
                  <a:pt x="3358388" y="413893"/>
                </a:lnTo>
                <a:lnTo>
                  <a:pt x="3367236" y="375854"/>
                </a:lnTo>
                <a:lnTo>
                  <a:pt x="3383468" y="331872"/>
                </a:lnTo>
                <a:lnTo>
                  <a:pt x="3404945" y="283642"/>
                </a:lnTo>
                <a:lnTo>
                  <a:pt x="3429529" y="232860"/>
                </a:lnTo>
                <a:lnTo>
                  <a:pt x="3455083" y="181220"/>
                </a:lnTo>
                <a:lnTo>
                  <a:pt x="3479470" y="130419"/>
                </a:lnTo>
                <a:lnTo>
                  <a:pt x="3500552" y="82152"/>
                </a:lnTo>
                <a:lnTo>
                  <a:pt x="3516191" y="38113"/>
                </a:lnTo>
                <a:lnTo>
                  <a:pt x="3524250" y="0"/>
                </a:lnTo>
              </a:path>
              <a:path w="3524250" h="3576954">
                <a:moveTo>
                  <a:pt x="259498" y="3576572"/>
                </a:moveTo>
                <a:lnTo>
                  <a:pt x="304688" y="3487859"/>
                </a:lnTo>
                <a:lnTo>
                  <a:pt x="352276" y="3404105"/>
                </a:lnTo>
                <a:lnTo>
                  <a:pt x="405256" y="3325088"/>
                </a:lnTo>
                <a:lnTo>
                  <a:pt x="438206" y="3281261"/>
                </a:lnTo>
                <a:lnTo>
                  <a:pt x="470817" y="3237182"/>
                </a:lnTo>
                <a:lnTo>
                  <a:pt x="503745" y="3193422"/>
                </a:lnTo>
                <a:lnTo>
                  <a:pt x="537647" y="3150552"/>
                </a:lnTo>
                <a:lnTo>
                  <a:pt x="573179" y="3109144"/>
                </a:lnTo>
                <a:lnTo>
                  <a:pt x="610997" y="3069767"/>
                </a:lnTo>
                <a:lnTo>
                  <a:pt x="648493" y="3035373"/>
                </a:lnTo>
                <a:lnTo>
                  <a:pt x="687642" y="3002901"/>
                </a:lnTo>
                <a:lnTo>
                  <a:pt x="727930" y="2971752"/>
                </a:lnTo>
                <a:lnTo>
                  <a:pt x="768846" y="2941328"/>
                </a:lnTo>
                <a:lnTo>
                  <a:pt x="809878" y="2911030"/>
                </a:lnTo>
                <a:lnTo>
                  <a:pt x="855267" y="2877014"/>
                </a:lnTo>
                <a:lnTo>
                  <a:pt x="900477" y="2842750"/>
                </a:lnTo>
                <a:lnTo>
                  <a:pt x="945663" y="2808469"/>
                </a:lnTo>
                <a:lnTo>
                  <a:pt x="990980" y="2774403"/>
                </a:lnTo>
                <a:lnTo>
                  <a:pt x="1029103" y="2746134"/>
                </a:lnTo>
                <a:lnTo>
                  <a:pt x="1067529" y="2718268"/>
                </a:lnTo>
                <a:lnTo>
                  <a:pt x="1106455" y="2691185"/>
                </a:lnTo>
                <a:lnTo>
                  <a:pt x="1146080" y="2665261"/>
                </a:lnTo>
                <a:lnTo>
                  <a:pt x="1186602" y="2640872"/>
                </a:lnTo>
                <a:lnTo>
                  <a:pt x="1228217" y="2618397"/>
                </a:lnTo>
                <a:lnTo>
                  <a:pt x="1265096" y="2601377"/>
                </a:lnTo>
                <a:lnTo>
                  <a:pt x="1327697" y="2578778"/>
                </a:lnTo>
                <a:lnTo>
                  <a:pt x="1378870" y="2565473"/>
                </a:lnTo>
                <a:lnTo>
                  <a:pt x="1430853" y="2557563"/>
                </a:lnTo>
                <a:lnTo>
                  <a:pt x="1483359" y="2556243"/>
                </a:lnTo>
                <a:lnTo>
                  <a:pt x="1508228" y="2558114"/>
                </a:lnTo>
                <a:lnTo>
                  <a:pt x="1532953" y="2561301"/>
                </a:lnTo>
                <a:lnTo>
                  <a:pt x="1557583" y="2565415"/>
                </a:lnTo>
                <a:lnTo>
                  <a:pt x="1582166" y="2570073"/>
                </a:lnTo>
                <a:lnTo>
                  <a:pt x="1600285" y="2573485"/>
                </a:lnTo>
                <a:lnTo>
                  <a:pt x="1654809" y="2582456"/>
                </a:lnTo>
                <a:lnTo>
                  <a:pt x="1708925" y="2588978"/>
                </a:lnTo>
                <a:lnTo>
                  <a:pt x="1763220" y="2591904"/>
                </a:lnTo>
                <a:lnTo>
                  <a:pt x="1817348" y="2590107"/>
                </a:lnTo>
                <a:lnTo>
                  <a:pt x="1870964" y="2582456"/>
                </a:lnTo>
                <a:lnTo>
                  <a:pt x="1915221" y="2570807"/>
                </a:lnTo>
                <a:lnTo>
                  <a:pt x="1957943" y="2554578"/>
                </a:lnTo>
                <a:lnTo>
                  <a:pt x="1998926" y="2534183"/>
                </a:lnTo>
                <a:lnTo>
                  <a:pt x="2037969" y="2510040"/>
                </a:lnTo>
                <a:lnTo>
                  <a:pt x="2088816" y="2471991"/>
                </a:lnTo>
                <a:lnTo>
                  <a:pt x="2137664" y="2431313"/>
                </a:lnTo>
                <a:lnTo>
                  <a:pt x="2173505" y="2401619"/>
                </a:lnTo>
                <a:lnTo>
                  <a:pt x="2210029" y="2372803"/>
                </a:lnTo>
                <a:lnTo>
                  <a:pt x="2247492" y="2345357"/>
                </a:lnTo>
                <a:lnTo>
                  <a:pt x="2286150" y="2319773"/>
                </a:lnTo>
                <a:lnTo>
                  <a:pt x="2326258" y="2296541"/>
                </a:lnTo>
                <a:lnTo>
                  <a:pt x="2367381" y="2276238"/>
                </a:lnTo>
                <a:lnTo>
                  <a:pt x="2409540" y="2258142"/>
                </a:lnTo>
                <a:lnTo>
                  <a:pt x="2452309" y="2241320"/>
                </a:lnTo>
                <a:lnTo>
                  <a:pt x="2495260" y="2224839"/>
                </a:lnTo>
                <a:lnTo>
                  <a:pt x="2537968" y="2207768"/>
                </a:lnTo>
                <a:lnTo>
                  <a:pt x="2606436" y="2176446"/>
                </a:lnTo>
                <a:lnTo>
                  <a:pt x="2672333" y="2140077"/>
                </a:lnTo>
                <a:lnTo>
                  <a:pt x="2714642" y="2112605"/>
                </a:lnTo>
                <a:lnTo>
                  <a:pt x="2755058" y="2082514"/>
                </a:lnTo>
                <a:lnTo>
                  <a:pt x="2793259" y="2049708"/>
                </a:lnTo>
                <a:lnTo>
                  <a:pt x="2828925" y="2014093"/>
                </a:lnTo>
                <a:lnTo>
                  <a:pt x="2859897" y="1978364"/>
                </a:lnTo>
                <a:lnTo>
                  <a:pt x="2889154" y="1941147"/>
                </a:lnTo>
                <a:lnTo>
                  <a:pt x="2917793" y="1903382"/>
                </a:lnTo>
                <a:lnTo>
                  <a:pt x="2946907" y="1866011"/>
                </a:lnTo>
                <a:lnTo>
                  <a:pt x="2975619" y="1831562"/>
                </a:lnTo>
                <a:lnTo>
                  <a:pt x="3005248" y="1797875"/>
                </a:lnTo>
                <a:lnTo>
                  <a:pt x="3035329" y="1764569"/>
                </a:lnTo>
                <a:lnTo>
                  <a:pt x="3065399" y="1731264"/>
                </a:lnTo>
                <a:lnTo>
                  <a:pt x="3112277" y="1677654"/>
                </a:lnTo>
                <a:lnTo>
                  <a:pt x="3158490" y="1623568"/>
                </a:lnTo>
                <a:lnTo>
                  <a:pt x="3197685" y="1576609"/>
                </a:lnTo>
                <a:lnTo>
                  <a:pt x="3233547" y="1527175"/>
                </a:lnTo>
                <a:lnTo>
                  <a:pt x="3268138" y="1462897"/>
                </a:lnTo>
                <a:lnTo>
                  <a:pt x="3295777" y="1395095"/>
                </a:lnTo>
                <a:lnTo>
                  <a:pt x="3311189" y="1351299"/>
                </a:lnTo>
                <a:lnTo>
                  <a:pt x="3324780" y="1306957"/>
                </a:lnTo>
                <a:lnTo>
                  <a:pt x="3336157" y="1262042"/>
                </a:lnTo>
                <a:lnTo>
                  <a:pt x="3344926" y="1216533"/>
                </a:lnTo>
                <a:lnTo>
                  <a:pt x="3358038" y="1181540"/>
                </a:lnTo>
                <a:lnTo>
                  <a:pt x="3384542" y="1137096"/>
                </a:lnTo>
                <a:lnTo>
                  <a:pt x="3418904" y="1086964"/>
                </a:lnTo>
                <a:lnTo>
                  <a:pt x="3455590" y="1034910"/>
                </a:lnTo>
                <a:lnTo>
                  <a:pt x="3489065" y="984700"/>
                </a:lnTo>
                <a:lnTo>
                  <a:pt x="3513796" y="940100"/>
                </a:lnTo>
                <a:lnTo>
                  <a:pt x="3524250" y="904875"/>
                </a:lnTo>
              </a:path>
            </a:pathLst>
          </a:custGeom>
          <a:ln w="9525">
            <a:solidFill>
              <a:srgbClr val="E8E1E8"/>
            </a:solidFill>
            <a:prstDash val="sys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bg object 19"/>
          <p:cNvSpPr/>
          <p:nvPr/>
        </p:nvSpPr>
        <p:spPr>
          <a:xfrm>
            <a:off x="11597189" y="6519862"/>
            <a:ext cx="594995" cy="338455"/>
          </a:xfrm>
          <a:custGeom>
            <a:avLst/>
            <a:gdLst/>
            <a:ahLst/>
            <a:cxnLst/>
            <a:rect l="l" t="t" r="r" b="b"/>
            <a:pathLst>
              <a:path w="594995" h="338454">
                <a:moveTo>
                  <a:pt x="349555" y="338135"/>
                </a:moveTo>
                <a:lnTo>
                  <a:pt x="377091" y="319639"/>
                </a:lnTo>
                <a:lnTo>
                  <a:pt x="456238" y="265790"/>
                </a:lnTo>
                <a:lnTo>
                  <a:pt x="542790" y="205252"/>
                </a:lnTo>
                <a:lnTo>
                  <a:pt x="594811" y="165603"/>
                </a:lnTo>
              </a:path>
              <a:path w="594995" h="338454">
                <a:moveTo>
                  <a:pt x="0" y="338135"/>
                </a:moveTo>
                <a:lnTo>
                  <a:pt x="56551" y="311094"/>
                </a:lnTo>
                <a:lnTo>
                  <a:pt x="215827" y="229509"/>
                </a:lnTo>
                <a:lnTo>
                  <a:pt x="407464" y="118895"/>
                </a:lnTo>
                <a:lnTo>
                  <a:pt x="571062" y="0"/>
                </a:lnTo>
              </a:path>
            </a:pathLst>
          </a:custGeom>
          <a:ln w="9525">
            <a:solidFill>
              <a:srgbClr val="E8E1E8"/>
            </a:solidFill>
            <a:prstDash val="sys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bg object 20"/>
          <p:cNvSpPr/>
          <p:nvPr/>
        </p:nvSpPr>
        <p:spPr>
          <a:xfrm>
            <a:off x="9199056" y="4672076"/>
            <a:ext cx="2993390" cy="2186305"/>
          </a:xfrm>
          <a:custGeom>
            <a:avLst/>
            <a:gdLst/>
            <a:ahLst/>
            <a:cxnLst/>
            <a:rect l="l" t="t" r="r" b="b"/>
            <a:pathLst>
              <a:path w="2993390" h="2186304">
                <a:moveTo>
                  <a:pt x="397444" y="2171636"/>
                </a:moveTo>
                <a:lnTo>
                  <a:pt x="452610" y="2116367"/>
                </a:lnTo>
                <a:lnTo>
                  <a:pt x="510012" y="2061124"/>
                </a:lnTo>
                <a:lnTo>
                  <a:pt x="577022" y="1999780"/>
                </a:lnTo>
                <a:lnTo>
                  <a:pt x="614605" y="1967449"/>
                </a:lnTo>
                <a:lnTo>
                  <a:pt x="652956" y="1936674"/>
                </a:lnTo>
                <a:lnTo>
                  <a:pt x="692264" y="1908074"/>
                </a:lnTo>
                <a:lnTo>
                  <a:pt x="732718" y="1882264"/>
                </a:lnTo>
                <a:lnTo>
                  <a:pt x="774507" y="1859864"/>
                </a:lnTo>
                <a:lnTo>
                  <a:pt x="818681" y="1840911"/>
                </a:lnTo>
                <a:lnTo>
                  <a:pt x="863667" y="1825601"/>
                </a:lnTo>
                <a:lnTo>
                  <a:pt x="909285" y="1813085"/>
                </a:lnTo>
                <a:lnTo>
                  <a:pt x="955351" y="1802511"/>
                </a:lnTo>
                <a:lnTo>
                  <a:pt x="1001684" y="1793028"/>
                </a:lnTo>
                <a:lnTo>
                  <a:pt x="1048101" y="1783787"/>
                </a:lnTo>
                <a:lnTo>
                  <a:pt x="1094420" y="1773936"/>
                </a:lnTo>
                <a:lnTo>
                  <a:pt x="1142494" y="1762391"/>
                </a:lnTo>
                <a:lnTo>
                  <a:pt x="1190489" y="1750298"/>
                </a:lnTo>
                <a:lnTo>
                  <a:pt x="1238539" y="1738825"/>
                </a:lnTo>
                <a:lnTo>
                  <a:pt x="1286777" y="1729140"/>
                </a:lnTo>
                <a:lnTo>
                  <a:pt x="1335339" y="1722412"/>
                </a:lnTo>
                <a:lnTo>
                  <a:pt x="1381615" y="1719364"/>
                </a:lnTo>
                <a:lnTo>
                  <a:pt x="1427903" y="1719338"/>
                </a:lnTo>
                <a:lnTo>
                  <a:pt x="1474154" y="1722062"/>
                </a:lnTo>
                <a:lnTo>
                  <a:pt x="1520320" y="1727266"/>
                </a:lnTo>
                <a:lnTo>
                  <a:pt x="1566352" y="1734680"/>
                </a:lnTo>
                <a:lnTo>
                  <a:pt x="1604782" y="1741983"/>
                </a:lnTo>
                <a:lnTo>
                  <a:pt x="1643187" y="1749113"/>
                </a:lnTo>
                <a:lnTo>
                  <a:pt x="1681688" y="1755157"/>
                </a:lnTo>
                <a:lnTo>
                  <a:pt x="1720403" y="1759204"/>
                </a:lnTo>
                <a:lnTo>
                  <a:pt x="1766361" y="1760075"/>
                </a:lnTo>
                <a:lnTo>
                  <a:pt x="1812097" y="1756414"/>
                </a:lnTo>
                <a:lnTo>
                  <a:pt x="1857516" y="1748659"/>
                </a:lnTo>
                <a:lnTo>
                  <a:pt x="1902521" y="1737249"/>
                </a:lnTo>
                <a:lnTo>
                  <a:pt x="1947019" y="1722622"/>
                </a:lnTo>
                <a:lnTo>
                  <a:pt x="1990913" y="1705216"/>
                </a:lnTo>
                <a:lnTo>
                  <a:pt x="2035480" y="1684590"/>
                </a:lnTo>
                <a:lnTo>
                  <a:pt x="2079222" y="1661557"/>
                </a:lnTo>
                <a:lnTo>
                  <a:pt x="2122306" y="1636589"/>
                </a:lnTo>
                <a:lnTo>
                  <a:pt x="2164897" y="1610160"/>
                </a:lnTo>
                <a:lnTo>
                  <a:pt x="2207162" y="1582743"/>
                </a:lnTo>
                <a:lnTo>
                  <a:pt x="2249268" y="1554813"/>
                </a:lnTo>
                <a:lnTo>
                  <a:pt x="2291379" y="1526844"/>
                </a:lnTo>
                <a:lnTo>
                  <a:pt x="2333663" y="1499308"/>
                </a:lnTo>
                <a:lnTo>
                  <a:pt x="2376285" y="1472679"/>
                </a:lnTo>
                <a:lnTo>
                  <a:pt x="2419411" y="1447431"/>
                </a:lnTo>
                <a:lnTo>
                  <a:pt x="2467917" y="1420826"/>
                </a:lnTo>
                <a:lnTo>
                  <a:pt x="2516435" y="1394375"/>
                </a:lnTo>
                <a:lnTo>
                  <a:pt x="2564398" y="1366741"/>
                </a:lnTo>
                <a:lnTo>
                  <a:pt x="2611240" y="1336586"/>
                </a:lnTo>
                <a:lnTo>
                  <a:pt x="2656393" y="1302575"/>
                </a:lnTo>
                <a:lnTo>
                  <a:pt x="2687719" y="1274482"/>
                </a:lnTo>
                <a:lnTo>
                  <a:pt x="2719921" y="1241346"/>
                </a:lnTo>
                <a:lnTo>
                  <a:pt x="2752536" y="1203887"/>
                </a:lnTo>
                <a:lnTo>
                  <a:pt x="2785101" y="1162821"/>
                </a:lnTo>
                <a:lnTo>
                  <a:pt x="2817152" y="1118866"/>
                </a:lnTo>
                <a:lnTo>
                  <a:pt x="2848227" y="1072740"/>
                </a:lnTo>
                <a:lnTo>
                  <a:pt x="2877862" y="1025160"/>
                </a:lnTo>
                <a:lnTo>
                  <a:pt x="2905595" y="976844"/>
                </a:lnTo>
                <a:lnTo>
                  <a:pt x="2930963" y="928510"/>
                </a:lnTo>
                <a:lnTo>
                  <a:pt x="2953503" y="880876"/>
                </a:lnTo>
                <a:lnTo>
                  <a:pt x="2972751" y="834658"/>
                </a:lnTo>
                <a:lnTo>
                  <a:pt x="2988244" y="790575"/>
                </a:lnTo>
              </a:path>
              <a:path w="2993390" h="2186304">
                <a:moveTo>
                  <a:pt x="181276" y="2185922"/>
                </a:moveTo>
                <a:lnTo>
                  <a:pt x="231233" y="2108838"/>
                </a:lnTo>
                <a:lnTo>
                  <a:pt x="288419" y="2031977"/>
                </a:lnTo>
                <a:lnTo>
                  <a:pt x="358201" y="1953780"/>
                </a:lnTo>
                <a:lnTo>
                  <a:pt x="397053" y="1917002"/>
                </a:lnTo>
                <a:lnTo>
                  <a:pt x="437509" y="1882095"/>
                </a:lnTo>
                <a:lnTo>
                  <a:pt x="479556" y="1849250"/>
                </a:lnTo>
                <a:lnTo>
                  <a:pt x="523180" y="1818662"/>
                </a:lnTo>
                <a:lnTo>
                  <a:pt x="568368" y="1790525"/>
                </a:lnTo>
                <a:lnTo>
                  <a:pt x="615106" y="1765032"/>
                </a:lnTo>
                <a:lnTo>
                  <a:pt x="663382" y="1742376"/>
                </a:lnTo>
                <a:lnTo>
                  <a:pt x="707648" y="1724798"/>
                </a:lnTo>
                <a:lnTo>
                  <a:pt x="752720" y="1709692"/>
                </a:lnTo>
                <a:lnTo>
                  <a:pt x="798456" y="1696647"/>
                </a:lnTo>
                <a:lnTo>
                  <a:pt x="844714" y="1685250"/>
                </a:lnTo>
                <a:lnTo>
                  <a:pt x="891353" y="1675089"/>
                </a:lnTo>
                <a:lnTo>
                  <a:pt x="938229" y="1665753"/>
                </a:lnTo>
                <a:lnTo>
                  <a:pt x="985200" y="1656829"/>
                </a:lnTo>
                <a:lnTo>
                  <a:pt x="1032357" y="1648001"/>
                </a:lnTo>
                <a:lnTo>
                  <a:pt x="1079539" y="1639305"/>
                </a:lnTo>
                <a:lnTo>
                  <a:pt x="1126760" y="1630834"/>
                </a:lnTo>
                <a:lnTo>
                  <a:pt x="1174033" y="1622680"/>
                </a:lnTo>
                <a:lnTo>
                  <a:pt x="1221372" y="1614937"/>
                </a:lnTo>
                <a:lnTo>
                  <a:pt x="1268789" y="1607696"/>
                </a:lnTo>
                <a:lnTo>
                  <a:pt x="1316299" y="1601051"/>
                </a:lnTo>
                <a:lnTo>
                  <a:pt x="1363914" y="1595094"/>
                </a:lnTo>
                <a:lnTo>
                  <a:pt x="1417331" y="1589363"/>
                </a:lnTo>
                <a:lnTo>
                  <a:pt x="1470825" y="1584189"/>
                </a:lnTo>
                <a:lnTo>
                  <a:pt x="1524283" y="1578852"/>
                </a:lnTo>
                <a:lnTo>
                  <a:pt x="1577594" y="1572637"/>
                </a:lnTo>
                <a:lnTo>
                  <a:pt x="1630644" y="1564824"/>
                </a:lnTo>
                <a:lnTo>
                  <a:pt x="1683319" y="1554695"/>
                </a:lnTo>
                <a:lnTo>
                  <a:pt x="1731421" y="1542980"/>
                </a:lnTo>
                <a:lnTo>
                  <a:pt x="1779040" y="1529429"/>
                </a:lnTo>
                <a:lnTo>
                  <a:pt x="1826305" y="1514541"/>
                </a:lnTo>
                <a:lnTo>
                  <a:pt x="1873349" y="1498817"/>
                </a:lnTo>
                <a:lnTo>
                  <a:pt x="1920301" y="1482758"/>
                </a:lnTo>
                <a:lnTo>
                  <a:pt x="1967291" y="1466862"/>
                </a:lnTo>
                <a:lnTo>
                  <a:pt x="2015604" y="1451222"/>
                </a:lnTo>
                <a:lnTo>
                  <a:pt x="2064157" y="1436298"/>
                </a:lnTo>
                <a:lnTo>
                  <a:pt x="2112879" y="1421872"/>
                </a:lnTo>
                <a:lnTo>
                  <a:pt x="2161698" y="1407722"/>
                </a:lnTo>
                <a:lnTo>
                  <a:pt x="2210544" y="1393629"/>
                </a:lnTo>
                <a:lnTo>
                  <a:pt x="2259346" y="1379371"/>
                </a:lnTo>
                <a:lnTo>
                  <a:pt x="2308032" y="1364729"/>
                </a:lnTo>
                <a:lnTo>
                  <a:pt x="2350841" y="1351389"/>
                </a:lnTo>
                <a:lnTo>
                  <a:pt x="2393329" y="1337148"/>
                </a:lnTo>
                <a:lnTo>
                  <a:pt x="2435173" y="1321263"/>
                </a:lnTo>
                <a:lnTo>
                  <a:pt x="2476053" y="1302994"/>
                </a:lnTo>
                <a:lnTo>
                  <a:pt x="2519660" y="1279481"/>
                </a:lnTo>
                <a:lnTo>
                  <a:pt x="2561064" y="1252470"/>
                </a:lnTo>
                <a:lnTo>
                  <a:pt x="2599586" y="1221616"/>
                </a:lnTo>
                <a:lnTo>
                  <a:pt x="2634549" y="1186573"/>
                </a:lnTo>
                <a:lnTo>
                  <a:pt x="2667870" y="1144135"/>
                </a:lnTo>
                <a:lnTo>
                  <a:pt x="2696838" y="1098678"/>
                </a:lnTo>
                <a:lnTo>
                  <a:pt x="2722862" y="1051165"/>
                </a:lnTo>
                <a:lnTo>
                  <a:pt x="2747350" y="1002562"/>
                </a:lnTo>
                <a:lnTo>
                  <a:pt x="2771709" y="953833"/>
                </a:lnTo>
                <a:lnTo>
                  <a:pt x="2806822" y="881142"/>
                </a:lnTo>
                <a:lnTo>
                  <a:pt x="2828349" y="834514"/>
                </a:lnTo>
                <a:lnTo>
                  <a:pt x="2851532" y="783385"/>
                </a:lnTo>
                <a:lnTo>
                  <a:pt x="2875629" y="729519"/>
                </a:lnTo>
                <a:lnTo>
                  <a:pt x="2899895" y="674681"/>
                </a:lnTo>
                <a:lnTo>
                  <a:pt x="2923589" y="620635"/>
                </a:lnTo>
                <a:lnTo>
                  <a:pt x="2945966" y="569147"/>
                </a:lnTo>
                <a:lnTo>
                  <a:pt x="2966284" y="521981"/>
                </a:lnTo>
                <a:lnTo>
                  <a:pt x="2983799" y="480902"/>
                </a:lnTo>
                <a:lnTo>
                  <a:pt x="2992943" y="459153"/>
                </a:lnTo>
              </a:path>
              <a:path w="2993390" h="2186304">
                <a:moveTo>
                  <a:pt x="0" y="2185922"/>
                </a:moveTo>
                <a:lnTo>
                  <a:pt x="31017" y="2131745"/>
                </a:lnTo>
                <a:lnTo>
                  <a:pt x="68010" y="2073038"/>
                </a:lnTo>
                <a:lnTo>
                  <a:pt x="113980" y="2008149"/>
                </a:lnTo>
                <a:lnTo>
                  <a:pt x="144184" y="1970362"/>
                </a:lnTo>
                <a:lnTo>
                  <a:pt x="175966" y="1933979"/>
                </a:lnTo>
                <a:lnTo>
                  <a:pt x="209097" y="1898804"/>
                </a:lnTo>
                <a:lnTo>
                  <a:pt x="243346" y="1864645"/>
                </a:lnTo>
                <a:lnTo>
                  <a:pt x="278481" y="1831308"/>
                </a:lnTo>
                <a:lnTo>
                  <a:pt x="314273" y="1798598"/>
                </a:lnTo>
                <a:lnTo>
                  <a:pt x="350491" y="1766322"/>
                </a:lnTo>
                <a:lnTo>
                  <a:pt x="386903" y="1734286"/>
                </a:lnTo>
                <a:lnTo>
                  <a:pt x="428119" y="1698445"/>
                </a:lnTo>
                <a:lnTo>
                  <a:pt x="470036" y="1663475"/>
                </a:lnTo>
                <a:lnTo>
                  <a:pt x="513125" y="1630349"/>
                </a:lnTo>
                <a:lnTo>
                  <a:pt x="557855" y="1600039"/>
                </a:lnTo>
                <a:lnTo>
                  <a:pt x="604693" y="1573515"/>
                </a:lnTo>
                <a:lnTo>
                  <a:pt x="654111" y="1551749"/>
                </a:lnTo>
                <a:lnTo>
                  <a:pt x="704968" y="1535764"/>
                </a:lnTo>
                <a:lnTo>
                  <a:pt x="757020" y="1524557"/>
                </a:lnTo>
                <a:lnTo>
                  <a:pt x="809907" y="1516712"/>
                </a:lnTo>
                <a:lnTo>
                  <a:pt x="863269" y="1510817"/>
                </a:lnTo>
                <a:lnTo>
                  <a:pt x="916747" y="1505458"/>
                </a:lnTo>
                <a:lnTo>
                  <a:pt x="962288" y="1500502"/>
                </a:lnTo>
                <a:lnTo>
                  <a:pt x="1007793" y="1495243"/>
                </a:lnTo>
                <a:lnTo>
                  <a:pt x="1053285" y="1489850"/>
                </a:lnTo>
                <a:lnTo>
                  <a:pt x="1098790" y="1484490"/>
                </a:lnTo>
                <a:lnTo>
                  <a:pt x="1144331" y="1479334"/>
                </a:lnTo>
                <a:lnTo>
                  <a:pt x="1185495" y="1474938"/>
                </a:lnTo>
                <a:lnTo>
                  <a:pt x="1226659" y="1470542"/>
                </a:lnTo>
                <a:lnTo>
                  <a:pt x="1267775" y="1465732"/>
                </a:lnTo>
                <a:lnTo>
                  <a:pt x="1308796" y="1460093"/>
                </a:lnTo>
                <a:lnTo>
                  <a:pt x="1357695" y="1451850"/>
                </a:lnTo>
                <a:lnTo>
                  <a:pt x="1406261" y="1442061"/>
                </a:lnTo>
                <a:lnTo>
                  <a:pt x="1454457" y="1430737"/>
                </a:lnTo>
                <a:lnTo>
                  <a:pt x="1502249" y="1417886"/>
                </a:lnTo>
                <a:lnTo>
                  <a:pt x="1549600" y="1403520"/>
                </a:lnTo>
                <a:lnTo>
                  <a:pt x="1596475" y="1387647"/>
                </a:lnTo>
                <a:lnTo>
                  <a:pt x="1642838" y="1370276"/>
                </a:lnTo>
                <a:lnTo>
                  <a:pt x="1688653" y="1351419"/>
                </a:lnTo>
                <a:lnTo>
                  <a:pt x="1738287" y="1329175"/>
                </a:lnTo>
                <a:lnTo>
                  <a:pt x="1787398" y="1305771"/>
                </a:lnTo>
                <a:lnTo>
                  <a:pt x="1836227" y="1281734"/>
                </a:lnTo>
                <a:lnTo>
                  <a:pt x="1885014" y="1257592"/>
                </a:lnTo>
                <a:lnTo>
                  <a:pt x="1933998" y="1233870"/>
                </a:lnTo>
                <a:lnTo>
                  <a:pt x="1983420" y="1211097"/>
                </a:lnTo>
                <a:lnTo>
                  <a:pt x="2033622" y="1189573"/>
                </a:lnTo>
                <a:lnTo>
                  <a:pt x="2084226" y="1169001"/>
                </a:lnTo>
                <a:lnTo>
                  <a:pt x="2134964" y="1148739"/>
                </a:lnTo>
                <a:lnTo>
                  <a:pt x="2185568" y="1128149"/>
                </a:lnTo>
                <a:lnTo>
                  <a:pt x="2235769" y="1106589"/>
                </a:lnTo>
                <a:lnTo>
                  <a:pt x="2281842" y="1085117"/>
                </a:lnTo>
                <a:lnTo>
                  <a:pt x="2327073" y="1061992"/>
                </a:lnTo>
                <a:lnTo>
                  <a:pt x="2371201" y="1036950"/>
                </a:lnTo>
                <a:lnTo>
                  <a:pt x="2413963" y="1009723"/>
                </a:lnTo>
                <a:lnTo>
                  <a:pt x="2455098" y="980046"/>
                </a:lnTo>
                <a:lnTo>
                  <a:pt x="2498282" y="944401"/>
                </a:lnTo>
                <a:lnTo>
                  <a:pt x="2538918" y="905956"/>
                </a:lnTo>
                <a:lnTo>
                  <a:pt x="2577078" y="864997"/>
                </a:lnTo>
                <a:lnTo>
                  <a:pt x="2612832" y="821817"/>
                </a:lnTo>
                <a:lnTo>
                  <a:pt x="2642160" y="782445"/>
                </a:lnTo>
                <a:lnTo>
                  <a:pt x="2669726" y="741849"/>
                </a:lnTo>
                <a:lnTo>
                  <a:pt x="2695659" y="700174"/>
                </a:lnTo>
                <a:lnTo>
                  <a:pt x="2720085" y="657566"/>
                </a:lnTo>
                <a:lnTo>
                  <a:pt x="2743134" y="614172"/>
                </a:lnTo>
                <a:lnTo>
                  <a:pt x="2773125" y="548607"/>
                </a:lnTo>
                <a:lnTo>
                  <a:pt x="2792241" y="503431"/>
                </a:lnTo>
                <a:lnTo>
                  <a:pt x="2813286" y="452247"/>
                </a:lnTo>
                <a:lnTo>
                  <a:pt x="2835645" y="396743"/>
                </a:lnTo>
                <a:lnTo>
                  <a:pt x="2858707" y="338610"/>
                </a:lnTo>
                <a:lnTo>
                  <a:pt x="2881856" y="279538"/>
                </a:lnTo>
                <a:lnTo>
                  <a:pt x="2904480" y="221215"/>
                </a:lnTo>
                <a:lnTo>
                  <a:pt x="2925965" y="165333"/>
                </a:lnTo>
                <a:lnTo>
                  <a:pt x="2945698" y="113581"/>
                </a:lnTo>
                <a:lnTo>
                  <a:pt x="2963064" y="67648"/>
                </a:lnTo>
                <a:lnTo>
                  <a:pt x="2977451" y="29224"/>
                </a:lnTo>
                <a:lnTo>
                  <a:pt x="2988244" y="0"/>
                </a:lnTo>
              </a:path>
            </a:pathLst>
          </a:custGeom>
          <a:ln w="9525">
            <a:solidFill>
              <a:srgbClr val="E8E1E8"/>
            </a:solidFill>
            <a:prstDash val="sys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bg object 21"/>
          <p:cNvSpPr/>
          <p:nvPr/>
        </p:nvSpPr>
        <p:spPr>
          <a:xfrm>
            <a:off x="7981950" y="5200650"/>
            <a:ext cx="4210050" cy="1657350"/>
          </a:xfrm>
          <a:custGeom>
            <a:avLst/>
            <a:gdLst/>
            <a:ahLst/>
            <a:cxnLst/>
            <a:rect l="l" t="t" r="r" b="b"/>
            <a:pathLst>
              <a:path w="4210050" h="1657350">
                <a:moveTo>
                  <a:pt x="4210050" y="0"/>
                </a:moveTo>
                <a:lnTo>
                  <a:pt x="4175299" y="75594"/>
                </a:lnTo>
                <a:lnTo>
                  <a:pt x="4155312" y="117681"/>
                </a:lnTo>
                <a:lnTo>
                  <a:pt x="4133992" y="159601"/>
                </a:lnTo>
                <a:lnTo>
                  <a:pt x="4110863" y="200913"/>
                </a:lnTo>
                <a:lnTo>
                  <a:pt x="4081733" y="247333"/>
                </a:lnTo>
                <a:lnTo>
                  <a:pt x="4050280" y="293168"/>
                </a:lnTo>
                <a:lnTo>
                  <a:pt x="4017201" y="338409"/>
                </a:lnTo>
                <a:lnTo>
                  <a:pt x="3983188" y="383051"/>
                </a:lnTo>
                <a:lnTo>
                  <a:pt x="3904043" y="484849"/>
                </a:lnTo>
                <a:lnTo>
                  <a:pt x="3881751" y="514175"/>
                </a:lnTo>
                <a:lnTo>
                  <a:pt x="3859910" y="543610"/>
                </a:lnTo>
                <a:lnTo>
                  <a:pt x="3798254" y="630105"/>
                </a:lnTo>
                <a:lnTo>
                  <a:pt x="3771114" y="666940"/>
                </a:lnTo>
                <a:lnTo>
                  <a:pt x="3742435" y="703267"/>
                </a:lnTo>
                <a:lnTo>
                  <a:pt x="3711598" y="738619"/>
                </a:lnTo>
                <a:lnTo>
                  <a:pt x="3677981" y="772529"/>
                </a:lnTo>
                <a:lnTo>
                  <a:pt x="3640963" y="804532"/>
                </a:lnTo>
                <a:lnTo>
                  <a:pt x="3607530" y="829065"/>
                </a:lnTo>
                <a:lnTo>
                  <a:pt x="3570647" y="852452"/>
                </a:lnTo>
                <a:lnTo>
                  <a:pt x="3530377" y="874655"/>
                </a:lnTo>
                <a:lnTo>
                  <a:pt x="3486784" y="895639"/>
                </a:lnTo>
                <a:lnTo>
                  <a:pt x="3439932" y="915368"/>
                </a:lnTo>
                <a:lnTo>
                  <a:pt x="3389883" y="933805"/>
                </a:lnTo>
                <a:lnTo>
                  <a:pt x="3336176" y="950890"/>
                </a:lnTo>
                <a:lnTo>
                  <a:pt x="3281572" y="966000"/>
                </a:lnTo>
                <a:lnTo>
                  <a:pt x="3226974" y="979487"/>
                </a:lnTo>
                <a:lnTo>
                  <a:pt x="3173284" y="991701"/>
                </a:lnTo>
                <a:lnTo>
                  <a:pt x="3067629" y="1014439"/>
                </a:lnTo>
                <a:lnTo>
                  <a:pt x="3013614" y="1025667"/>
                </a:lnTo>
                <a:lnTo>
                  <a:pt x="2763816" y="1076624"/>
                </a:lnTo>
                <a:lnTo>
                  <a:pt x="2668079" y="1096994"/>
                </a:lnTo>
                <a:lnTo>
                  <a:pt x="2620358" y="1107581"/>
                </a:lnTo>
                <a:lnTo>
                  <a:pt x="2572893" y="1118489"/>
                </a:lnTo>
                <a:lnTo>
                  <a:pt x="2374300" y="1165889"/>
                </a:lnTo>
                <a:lnTo>
                  <a:pt x="2323535" y="1177540"/>
                </a:lnTo>
                <a:lnTo>
                  <a:pt x="2272415" y="1188724"/>
                </a:lnTo>
                <a:lnTo>
                  <a:pt x="2220981" y="1199245"/>
                </a:lnTo>
                <a:lnTo>
                  <a:pt x="2169277" y="1208910"/>
                </a:lnTo>
                <a:lnTo>
                  <a:pt x="2117344" y="1217523"/>
                </a:lnTo>
                <a:lnTo>
                  <a:pt x="2066524" y="1224757"/>
                </a:lnTo>
                <a:lnTo>
                  <a:pt x="2015294" y="1230930"/>
                </a:lnTo>
                <a:lnTo>
                  <a:pt x="1963802" y="1236216"/>
                </a:lnTo>
                <a:lnTo>
                  <a:pt x="1912196" y="1240787"/>
                </a:lnTo>
                <a:lnTo>
                  <a:pt x="1860626" y="1244816"/>
                </a:lnTo>
                <a:lnTo>
                  <a:pt x="1681702" y="1257211"/>
                </a:lnTo>
                <a:lnTo>
                  <a:pt x="1604645" y="1263053"/>
                </a:lnTo>
                <a:lnTo>
                  <a:pt x="1554625" y="1267358"/>
                </a:lnTo>
                <a:lnTo>
                  <a:pt x="1504768" y="1271996"/>
                </a:lnTo>
                <a:lnTo>
                  <a:pt x="1454977" y="1276949"/>
                </a:lnTo>
                <a:lnTo>
                  <a:pt x="1405156" y="1282202"/>
                </a:lnTo>
                <a:lnTo>
                  <a:pt x="1305036" y="1293539"/>
                </a:lnTo>
                <a:lnTo>
                  <a:pt x="1203635" y="1305875"/>
                </a:lnTo>
                <a:lnTo>
                  <a:pt x="1100181" y="1319078"/>
                </a:lnTo>
                <a:lnTo>
                  <a:pt x="888892" y="1347114"/>
                </a:lnTo>
                <a:lnTo>
                  <a:pt x="836164" y="1354618"/>
                </a:lnTo>
                <a:lnTo>
                  <a:pt x="783449" y="1362631"/>
                </a:lnTo>
                <a:lnTo>
                  <a:pt x="730869" y="1371307"/>
                </a:lnTo>
                <a:lnTo>
                  <a:pt x="678543" y="1380803"/>
                </a:lnTo>
                <a:lnTo>
                  <a:pt x="626594" y="1391271"/>
                </a:lnTo>
                <a:lnTo>
                  <a:pt x="575143" y="1402866"/>
                </a:lnTo>
                <a:lnTo>
                  <a:pt x="524310" y="1415744"/>
                </a:lnTo>
                <a:lnTo>
                  <a:pt x="474218" y="1430058"/>
                </a:lnTo>
                <a:lnTo>
                  <a:pt x="425245" y="1445709"/>
                </a:lnTo>
                <a:lnTo>
                  <a:pt x="376735" y="1462823"/>
                </a:lnTo>
                <a:lnTo>
                  <a:pt x="328710" y="1481388"/>
                </a:lnTo>
                <a:lnTo>
                  <a:pt x="281193" y="1501394"/>
                </a:lnTo>
                <a:lnTo>
                  <a:pt x="234206" y="1522828"/>
                </a:lnTo>
                <a:lnTo>
                  <a:pt x="187771" y="1545680"/>
                </a:lnTo>
                <a:lnTo>
                  <a:pt x="141910" y="1569938"/>
                </a:lnTo>
                <a:lnTo>
                  <a:pt x="96647" y="1595591"/>
                </a:lnTo>
                <a:lnTo>
                  <a:pt x="0" y="1657350"/>
                </a:lnTo>
                <a:lnTo>
                  <a:pt x="39624" y="1657350"/>
                </a:lnTo>
                <a:lnTo>
                  <a:pt x="113283" y="1610326"/>
                </a:lnTo>
                <a:lnTo>
                  <a:pt x="157827" y="1585068"/>
                </a:lnTo>
                <a:lnTo>
                  <a:pt x="202951" y="1561185"/>
                </a:lnTo>
                <a:lnTo>
                  <a:pt x="248633" y="1538692"/>
                </a:lnTo>
                <a:lnTo>
                  <a:pt x="294846" y="1517598"/>
                </a:lnTo>
                <a:lnTo>
                  <a:pt x="341565" y="1497916"/>
                </a:lnTo>
                <a:lnTo>
                  <a:pt x="388764" y="1479657"/>
                </a:lnTo>
                <a:lnTo>
                  <a:pt x="436419" y="1462833"/>
                </a:lnTo>
                <a:lnTo>
                  <a:pt x="484504" y="1447457"/>
                </a:lnTo>
                <a:lnTo>
                  <a:pt x="533838" y="1433376"/>
                </a:lnTo>
                <a:lnTo>
                  <a:pt x="583991" y="1420690"/>
                </a:lnTo>
                <a:lnTo>
                  <a:pt x="634838" y="1409251"/>
                </a:lnTo>
                <a:lnTo>
                  <a:pt x="686252" y="1398906"/>
                </a:lnTo>
                <a:lnTo>
                  <a:pt x="738108" y="1389508"/>
                </a:lnTo>
                <a:lnTo>
                  <a:pt x="790280" y="1380906"/>
                </a:lnTo>
                <a:lnTo>
                  <a:pt x="842643" y="1372949"/>
                </a:lnTo>
                <a:lnTo>
                  <a:pt x="895070" y="1365489"/>
                </a:lnTo>
                <a:lnTo>
                  <a:pt x="1052829" y="1344430"/>
                </a:lnTo>
                <a:lnTo>
                  <a:pt x="1208240" y="1324414"/>
                </a:lnTo>
                <a:lnTo>
                  <a:pt x="1309243" y="1312125"/>
                </a:lnTo>
                <a:lnTo>
                  <a:pt x="1409017" y="1300836"/>
                </a:lnTo>
                <a:lnTo>
                  <a:pt x="1458674" y="1295607"/>
                </a:lnTo>
                <a:lnTo>
                  <a:pt x="1508299" y="1290678"/>
                </a:lnTo>
                <a:lnTo>
                  <a:pt x="1557983" y="1286065"/>
                </a:lnTo>
                <a:lnTo>
                  <a:pt x="1607820" y="1281785"/>
                </a:lnTo>
                <a:lnTo>
                  <a:pt x="1684527" y="1275943"/>
                </a:lnTo>
                <a:lnTo>
                  <a:pt x="1863905" y="1263611"/>
                </a:lnTo>
                <a:lnTo>
                  <a:pt x="1915839" y="1259556"/>
                </a:lnTo>
                <a:lnTo>
                  <a:pt x="1967853" y="1254947"/>
                </a:lnTo>
                <a:lnTo>
                  <a:pt x="2019803" y="1249610"/>
                </a:lnTo>
                <a:lnTo>
                  <a:pt x="2071544" y="1243374"/>
                </a:lnTo>
                <a:lnTo>
                  <a:pt x="2122931" y="1236065"/>
                </a:lnTo>
                <a:lnTo>
                  <a:pt x="2175427" y="1227338"/>
                </a:lnTo>
                <a:lnTo>
                  <a:pt x="2227626" y="1217578"/>
                </a:lnTo>
                <a:lnTo>
                  <a:pt x="2279499" y="1206975"/>
                </a:lnTo>
                <a:lnTo>
                  <a:pt x="2331015" y="1195718"/>
                </a:lnTo>
                <a:lnTo>
                  <a:pt x="2382141" y="1183999"/>
                </a:lnTo>
                <a:lnTo>
                  <a:pt x="2507585" y="1154030"/>
                </a:lnTo>
                <a:lnTo>
                  <a:pt x="2628410" y="1125711"/>
                </a:lnTo>
                <a:lnTo>
                  <a:pt x="2675955" y="1115176"/>
                </a:lnTo>
                <a:lnTo>
                  <a:pt x="2771402" y="1094875"/>
                </a:lnTo>
                <a:lnTo>
                  <a:pt x="3075100" y="1032691"/>
                </a:lnTo>
                <a:lnTo>
                  <a:pt x="3172611" y="1011826"/>
                </a:lnTo>
                <a:lnTo>
                  <a:pt x="3217568" y="1001769"/>
                </a:lnTo>
                <a:lnTo>
                  <a:pt x="3263407" y="990866"/>
                </a:lnTo>
                <a:lnTo>
                  <a:pt x="3309638" y="978909"/>
                </a:lnTo>
                <a:lnTo>
                  <a:pt x="3355770" y="965690"/>
                </a:lnTo>
                <a:lnTo>
                  <a:pt x="3401314" y="951001"/>
                </a:lnTo>
                <a:lnTo>
                  <a:pt x="3452908" y="931972"/>
                </a:lnTo>
                <a:lnTo>
                  <a:pt x="3501225" y="911600"/>
                </a:lnTo>
                <a:lnTo>
                  <a:pt x="3546205" y="889919"/>
                </a:lnTo>
                <a:lnTo>
                  <a:pt x="3587787" y="866962"/>
                </a:lnTo>
                <a:lnTo>
                  <a:pt x="3625912" y="842764"/>
                </a:lnTo>
                <a:lnTo>
                  <a:pt x="3660521" y="817359"/>
                </a:lnTo>
                <a:lnTo>
                  <a:pt x="3698615" y="784506"/>
                </a:lnTo>
                <a:lnTo>
                  <a:pt x="3733080" y="749835"/>
                </a:lnTo>
                <a:lnTo>
                  <a:pt x="3764581" y="713790"/>
                </a:lnTo>
                <a:lnTo>
                  <a:pt x="3793786" y="676819"/>
                </a:lnTo>
                <a:lnTo>
                  <a:pt x="3821361" y="639366"/>
                </a:lnTo>
                <a:lnTo>
                  <a:pt x="3874369" y="564748"/>
                </a:lnTo>
                <a:lnTo>
                  <a:pt x="3905023" y="523156"/>
                </a:lnTo>
                <a:lnTo>
                  <a:pt x="3927221" y="493961"/>
                </a:lnTo>
                <a:lnTo>
                  <a:pt x="4000602" y="399480"/>
                </a:lnTo>
                <a:lnTo>
                  <a:pt x="4029216" y="362150"/>
                </a:lnTo>
                <a:lnTo>
                  <a:pt x="4057364" y="324392"/>
                </a:lnTo>
                <a:lnTo>
                  <a:pt x="4084644" y="286193"/>
                </a:lnTo>
                <a:lnTo>
                  <a:pt x="4110654" y="247536"/>
                </a:lnTo>
                <a:lnTo>
                  <a:pt x="4134993" y="208406"/>
                </a:lnTo>
                <a:lnTo>
                  <a:pt x="4210050" y="58293"/>
                </a:lnTo>
                <a:lnTo>
                  <a:pt x="4210050" y="0"/>
                </a:lnTo>
                <a:close/>
              </a:path>
            </a:pathLst>
          </a:custGeom>
          <a:solidFill>
            <a:srgbClr val="48B54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bg object 22"/>
          <p:cNvSpPr/>
          <p:nvPr/>
        </p:nvSpPr>
        <p:spPr>
          <a:xfrm>
            <a:off x="10920476" y="4005326"/>
            <a:ext cx="118745" cy="119380"/>
          </a:xfrm>
          <a:custGeom>
            <a:avLst/>
            <a:gdLst/>
            <a:ahLst/>
            <a:cxnLst/>
            <a:rect l="l" t="t" r="r" b="b"/>
            <a:pathLst>
              <a:path w="118745" h="119379">
                <a:moveTo>
                  <a:pt x="57150" y="0"/>
                </a:moveTo>
                <a:lnTo>
                  <a:pt x="57150" y="118872"/>
                </a:lnTo>
              </a:path>
              <a:path w="118745" h="119379">
                <a:moveTo>
                  <a:pt x="0" y="57150"/>
                </a:moveTo>
                <a:lnTo>
                  <a:pt x="118745" y="57150"/>
                </a:lnTo>
              </a:path>
            </a:pathLst>
          </a:custGeom>
          <a:ln w="12700">
            <a:solidFill>
              <a:srgbClr val="E18A67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4400" b="1" i="0">
                <a:solidFill>
                  <a:schemeClr val="bg1"/>
                </a:solidFill>
                <a:latin typeface="Sitka Heading"/>
                <a:cs typeface="Sitka Heading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2750" b="1" i="0">
                <a:solidFill>
                  <a:schemeClr val="bg1"/>
                </a:solidFill>
                <a:latin typeface="Sitka Heading"/>
                <a:cs typeface="Sitka Heading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/29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4400" b="1" i="0">
                <a:solidFill>
                  <a:schemeClr val="bg1"/>
                </a:solidFill>
                <a:latin typeface="Sitka Heading"/>
                <a:cs typeface="Sitka Heading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/29/2024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4400" b="1" i="0">
                <a:solidFill>
                  <a:schemeClr val="bg1"/>
                </a:solidFill>
                <a:latin typeface="Sitka Heading"/>
                <a:cs typeface="Sitka Heading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/29/2024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/29/2024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9D7FD7F5-8980-D254-A840-8AECD82159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2019718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8" imgW="425" imgH="424" progId="TCLayout.ActiveDocument.1">
                  <p:embed/>
                </p:oleObj>
              </mc:Choice>
              <mc:Fallback>
                <p:oleObj name="Diapositiva de think-cell" r:id="rId8" imgW="425" imgH="424" progId="TCLayout.ActiveDocument.1">
                  <p:embed/>
                  <p:pic>
                    <p:nvPicPr>
                      <p:cNvPr id="7" name="Objeto 6" hidden="1">
                        <a:extLst>
                          <a:ext uri="{FF2B5EF4-FFF2-40B4-BE49-F238E27FC236}">
                            <a16:creationId xmlns:a16="http://schemas.microsoft.com/office/drawing/2014/main" id="{9D7FD7F5-8980-D254-A840-8AECD82159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bg object 16"/>
          <p:cNvSpPr/>
          <p:nvPr/>
        </p:nvSpPr>
        <p:spPr>
          <a:xfrm>
            <a:off x="4763" y="4762"/>
            <a:ext cx="12187555" cy="6853555"/>
          </a:xfrm>
          <a:custGeom>
            <a:avLst/>
            <a:gdLst/>
            <a:ahLst/>
            <a:cxnLst/>
            <a:rect l="l" t="t" r="r" b="b"/>
            <a:pathLst>
              <a:path w="12187555" h="6853555">
                <a:moveTo>
                  <a:pt x="12187236" y="6853235"/>
                </a:moveTo>
                <a:lnTo>
                  <a:pt x="12187236" y="0"/>
                </a:lnTo>
                <a:lnTo>
                  <a:pt x="0" y="0"/>
                </a:lnTo>
                <a:lnTo>
                  <a:pt x="0" y="6853235"/>
                </a:lnTo>
                <a:lnTo>
                  <a:pt x="12187236" y="6853235"/>
                </a:lnTo>
                <a:close/>
              </a:path>
            </a:pathLst>
          </a:custGeom>
          <a:solidFill>
            <a:srgbClr val="E8E1E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4763" y="4762"/>
            <a:ext cx="12187555" cy="6853555"/>
          </a:xfrm>
          <a:custGeom>
            <a:avLst/>
            <a:gdLst/>
            <a:ahLst/>
            <a:cxnLst/>
            <a:rect l="l" t="t" r="r" b="b"/>
            <a:pathLst>
              <a:path w="12187555" h="6853555">
                <a:moveTo>
                  <a:pt x="12187236" y="0"/>
                </a:moveTo>
                <a:lnTo>
                  <a:pt x="0" y="0"/>
                </a:lnTo>
                <a:lnTo>
                  <a:pt x="0" y="6853235"/>
                </a:lnTo>
              </a:path>
            </a:pathLst>
          </a:custGeom>
          <a:ln w="12700">
            <a:solidFill>
              <a:srgbClr val="F1F1F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bg object 18"/>
          <p:cNvSpPr/>
          <p:nvPr/>
        </p:nvSpPr>
        <p:spPr>
          <a:xfrm>
            <a:off x="695325" y="0"/>
            <a:ext cx="11229975" cy="6848475"/>
          </a:xfrm>
          <a:custGeom>
            <a:avLst/>
            <a:gdLst/>
            <a:ahLst/>
            <a:cxnLst/>
            <a:rect l="l" t="t" r="r" b="b"/>
            <a:pathLst>
              <a:path w="11229975" h="6848475">
                <a:moveTo>
                  <a:pt x="1323975" y="0"/>
                </a:moveTo>
                <a:lnTo>
                  <a:pt x="0" y="0"/>
                </a:lnTo>
                <a:lnTo>
                  <a:pt x="7391" y="71374"/>
                </a:lnTo>
                <a:lnTo>
                  <a:pt x="18923" y="117525"/>
                </a:lnTo>
                <a:lnTo>
                  <a:pt x="33769" y="162331"/>
                </a:lnTo>
                <a:lnTo>
                  <a:pt x="51777" y="205651"/>
                </a:lnTo>
                <a:lnTo>
                  <a:pt x="72834" y="247357"/>
                </a:lnTo>
                <a:lnTo>
                  <a:pt x="96799" y="287324"/>
                </a:lnTo>
                <a:lnTo>
                  <a:pt x="123532" y="325412"/>
                </a:lnTo>
                <a:lnTo>
                  <a:pt x="152895" y="361492"/>
                </a:lnTo>
                <a:lnTo>
                  <a:pt x="184759" y="395439"/>
                </a:lnTo>
                <a:lnTo>
                  <a:pt x="218998" y="427126"/>
                </a:lnTo>
                <a:lnTo>
                  <a:pt x="255460" y="456412"/>
                </a:lnTo>
                <a:lnTo>
                  <a:pt x="294030" y="483171"/>
                </a:lnTo>
                <a:lnTo>
                  <a:pt x="334556" y="507276"/>
                </a:lnTo>
                <a:lnTo>
                  <a:pt x="376910" y="528586"/>
                </a:lnTo>
                <a:lnTo>
                  <a:pt x="420954" y="546976"/>
                </a:lnTo>
                <a:lnTo>
                  <a:pt x="466572" y="562317"/>
                </a:lnTo>
                <a:lnTo>
                  <a:pt x="513600" y="574471"/>
                </a:lnTo>
                <a:lnTo>
                  <a:pt x="561924" y="583323"/>
                </a:lnTo>
                <a:lnTo>
                  <a:pt x="611416" y="588721"/>
                </a:lnTo>
                <a:lnTo>
                  <a:pt x="661924" y="590550"/>
                </a:lnTo>
                <a:lnTo>
                  <a:pt x="712444" y="588721"/>
                </a:lnTo>
                <a:lnTo>
                  <a:pt x="761949" y="583323"/>
                </a:lnTo>
                <a:lnTo>
                  <a:pt x="810285" y="574471"/>
                </a:lnTo>
                <a:lnTo>
                  <a:pt x="857338" y="562317"/>
                </a:lnTo>
                <a:lnTo>
                  <a:pt x="902957" y="546976"/>
                </a:lnTo>
                <a:lnTo>
                  <a:pt x="947013" y="528586"/>
                </a:lnTo>
                <a:lnTo>
                  <a:pt x="989380" y="507276"/>
                </a:lnTo>
                <a:lnTo>
                  <a:pt x="1029906" y="483171"/>
                </a:lnTo>
                <a:lnTo>
                  <a:pt x="1068476" y="456412"/>
                </a:lnTo>
                <a:lnTo>
                  <a:pt x="1104950" y="427126"/>
                </a:lnTo>
                <a:lnTo>
                  <a:pt x="1139190" y="395439"/>
                </a:lnTo>
                <a:lnTo>
                  <a:pt x="1171054" y="361492"/>
                </a:lnTo>
                <a:lnTo>
                  <a:pt x="1200429" y="325412"/>
                </a:lnTo>
                <a:lnTo>
                  <a:pt x="1227162" y="287324"/>
                </a:lnTo>
                <a:lnTo>
                  <a:pt x="1251127" y="247357"/>
                </a:lnTo>
                <a:lnTo>
                  <a:pt x="1272184" y="205651"/>
                </a:lnTo>
                <a:lnTo>
                  <a:pt x="1290205" y="162331"/>
                </a:lnTo>
                <a:lnTo>
                  <a:pt x="1305064" y="117525"/>
                </a:lnTo>
                <a:lnTo>
                  <a:pt x="1316609" y="71374"/>
                </a:lnTo>
                <a:lnTo>
                  <a:pt x="1323975" y="0"/>
                </a:lnTo>
                <a:close/>
              </a:path>
              <a:path w="11229975" h="6848475">
                <a:moveTo>
                  <a:pt x="11229975" y="6848475"/>
                </a:moveTo>
                <a:lnTo>
                  <a:pt x="11221720" y="6766712"/>
                </a:lnTo>
                <a:lnTo>
                  <a:pt x="11210747" y="6720992"/>
                </a:lnTo>
                <a:lnTo>
                  <a:pt x="11196993" y="6676390"/>
                </a:lnTo>
                <a:lnTo>
                  <a:pt x="11180559" y="6633045"/>
                </a:lnTo>
                <a:lnTo>
                  <a:pt x="11161535" y="6591020"/>
                </a:lnTo>
                <a:lnTo>
                  <a:pt x="11140008" y="6550419"/>
                </a:lnTo>
                <a:lnTo>
                  <a:pt x="11116094" y="6511341"/>
                </a:lnTo>
                <a:lnTo>
                  <a:pt x="11089881" y="6473901"/>
                </a:lnTo>
                <a:lnTo>
                  <a:pt x="11061471" y="6438163"/>
                </a:lnTo>
                <a:lnTo>
                  <a:pt x="11030953" y="6404242"/>
                </a:lnTo>
                <a:lnTo>
                  <a:pt x="10998429" y="6372225"/>
                </a:lnTo>
                <a:lnTo>
                  <a:pt x="10963999" y="6342227"/>
                </a:lnTo>
                <a:lnTo>
                  <a:pt x="10927753" y="6314325"/>
                </a:lnTo>
                <a:lnTo>
                  <a:pt x="10889793" y="6288621"/>
                </a:lnTo>
                <a:lnTo>
                  <a:pt x="10850220" y="6265215"/>
                </a:lnTo>
                <a:lnTo>
                  <a:pt x="10809122" y="6244209"/>
                </a:lnTo>
                <a:lnTo>
                  <a:pt x="10766603" y="6225679"/>
                </a:lnTo>
                <a:lnTo>
                  <a:pt x="10722750" y="6209741"/>
                </a:lnTo>
                <a:lnTo>
                  <a:pt x="10677677" y="6196482"/>
                </a:lnTo>
                <a:lnTo>
                  <a:pt x="10631462" y="6186005"/>
                </a:lnTo>
                <a:lnTo>
                  <a:pt x="10584218" y="6178410"/>
                </a:lnTo>
                <a:lnTo>
                  <a:pt x="10536034" y="6173775"/>
                </a:lnTo>
                <a:lnTo>
                  <a:pt x="10487025" y="6172200"/>
                </a:lnTo>
                <a:lnTo>
                  <a:pt x="10438003" y="6173775"/>
                </a:lnTo>
                <a:lnTo>
                  <a:pt x="10389819" y="6178410"/>
                </a:lnTo>
                <a:lnTo>
                  <a:pt x="10342575" y="6186005"/>
                </a:lnTo>
                <a:lnTo>
                  <a:pt x="10296360" y="6196482"/>
                </a:lnTo>
                <a:lnTo>
                  <a:pt x="10251288" y="6209741"/>
                </a:lnTo>
                <a:lnTo>
                  <a:pt x="10207434" y="6225679"/>
                </a:lnTo>
                <a:lnTo>
                  <a:pt x="10164915" y="6244209"/>
                </a:lnTo>
                <a:lnTo>
                  <a:pt x="10123818" y="6265215"/>
                </a:lnTo>
                <a:lnTo>
                  <a:pt x="10084244" y="6288621"/>
                </a:lnTo>
                <a:lnTo>
                  <a:pt x="10046284" y="6314325"/>
                </a:lnTo>
                <a:lnTo>
                  <a:pt x="10010038" y="6342227"/>
                </a:lnTo>
                <a:lnTo>
                  <a:pt x="9975609" y="6372225"/>
                </a:lnTo>
                <a:lnTo>
                  <a:pt x="9943084" y="6404242"/>
                </a:lnTo>
                <a:lnTo>
                  <a:pt x="9912566" y="6438163"/>
                </a:lnTo>
                <a:lnTo>
                  <a:pt x="9884156" y="6473901"/>
                </a:lnTo>
                <a:lnTo>
                  <a:pt x="9857943" y="6511341"/>
                </a:lnTo>
                <a:lnTo>
                  <a:pt x="9834029" y="6550419"/>
                </a:lnTo>
                <a:lnTo>
                  <a:pt x="9812503" y="6591020"/>
                </a:lnTo>
                <a:lnTo>
                  <a:pt x="9793478" y="6633045"/>
                </a:lnTo>
                <a:lnTo>
                  <a:pt x="9777044" y="6676390"/>
                </a:lnTo>
                <a:lnTo>
                  <a:pt x="9763290" y="6720992"/>
                </a:lnTo>
                <a:lnTo>
                  <a:pt x="9752330" y="6766712"/>
                </a:lnTo>
                <a:lnTo>
                  <a:pt x="9744075" y="6848475"/>
                </a:lnTo>
                <a:lnTo>
                  <a:pt x="11229975" y="6848475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bg object 19"/>
          <p:cNvSpPr/>
          <p:nvPr/>
        </p:nvSpPr>
        <p:spPr>
          <a:xfrm>
            <a:off x="7981949" y="5200650"/>
            <a:ext cx="4210050" cy="1657350"/>
          </a:xfrm>
          <a:custGeom>
            <a:avLst/>
            <a:gdLst/>
            <a:ahLst/>
            <a:cxnLst/>
            <a:rect l="l" t="t" r="r" b="b"/>
            <a:pathLst>
              <a:path w="4210050" h="1657350">
                <a:moveTo>
                  <a:pt x="4210050" y="0"/>
                </a:moveTo>
                <a:lnTo>
                  <a:pt x="4175299" y="75594"/>
                </a:lnTo>
                <a:lnTo>
                  <a:pt x="4155312" y="117681"/>
                </a:lnTo>
                <a:lnTo>
                  <a:pt x="4133992" y="159601"/>
                </a:lnTo>
                <a:lnTo>
                  <a:pt x="4110863" y="200913"/>
                </a:lnTo>
                <a:lnTo>
                  <a:pt x="4081733" y="247333"/>
                </a:lnTo>
                <a:lnTo>
                  <a:pt x="4050280" y="293168"/>
                </a:lnTo>
                <a:lnTo>
                  <a:pt x="4017201" y="338409"/>
                </a:lnTo>
                <a:lnTo>
                  <a:pt x="3983188" y="383051"/>
                </a:lnTo>
                <a:lnTo>
                  <a:pt x="3904043" y="484849"/>
                </a:lnTo>
                <a:lnTo>
                  <a:pt x="3881751" y="514175"/>
                </a:lnTo>
                <a:lnTo>
                  <a:pt x="3859910" y="543610"/>
                </a:lnTo>
                <a:lnTo>
                  <a:pt x="3798254" y="630105"/>
                </a:lnTo>
                <a:lnTo>
                  <a:pt x="3771114" y="666940"/>
                </a:lnTo>
                <a:lnTo>
                  <a:pt x="3742435" y="703267"/>
                </a:lnTo>
                <a:lnTo>
                  <a:pt x="3711598" y="738619"/>
                </a:lnTo>
                <a:lnTo>
                  <a:pt x="3677981" y="772529"/>
                </a:lnTo>
                <a:lnTo>
                  <a:pt x="3640963" y="804532"/>
                </a:lnTo>
                <a:lnTo>
                  <a:pt x="3607530" y="829065"/>
                </a:lnTo>
                <a:lnTo>
                  <a:pt x="3570647" y="852452"/>
                </a:lnTo>
                <a:lnTo>
                  <a:pt x="3530377" y="874655"/>
                </a:lnTo>
                <a:lnTo>
                  <a:pt x="3486784" y="895639"/>
                </a:lnTo>
                <a:lnTo>
                  <a:pt x="3439932" y="915368"/>
                </a:lnTo>
                <a:lnTo>
                  <a:pt x="3389883" y="933805"/>
                </a:lnTo>
                <a:lnTo>
                  <a:pt x="3336176" y="950890"/>
                </a:lnTo>
                <a:lnTo>
                  <a:pt x="3281572" y="966000"/>
                </a:lnTo>
                <a:lnTo>
                  <a:pt x="3226974" y="979487"/>
                </a:lnTo>
                <a:lnTo>
                  <a:pt x="3173284" y="991701"/>
                </a:lnTo>
                <a:lnTo>
                  <a:pt x="3067629" y="1014439"/>
                </a:lnTo>
                <a:lnTo>
                  <a:pt x="3013614" y="1025667"/>
                </a:lnTo>
                <a:lnTo>
                  <a:pt x="2763816" y="1076624"/>
                </a:lnTo>
                <a:lnTo>
                  <a:pt x="2668079" y="1096994"/>
                </a:lnTo>
                <a:lnTo>
                  <a:pt x="2620358" y="1107581"/>
                </a:lnTo>
                <a:lnTo>
                  <a:pt x="2572893" y="1118489"/>
                </a:lnTo>
                <a:lnTo>
                  <a:pt x="2374300" y="1165889"/>
                </a:lnTo>
                <a:lnTo>
                  <a:pt x="2323535" y="1177540"/>
                </a:lnTo>
                <a:lnTo>
                  <a:pt x="2272415" y="1188724"/>
                </a:lnTo>
                <a:lnTo>
                  <a:pt x="2220981" y="1199245"/>
                </a:lnTo>
                <a:lnTo>
                  <a:pt x="2169277" y="1208910"/>
                </a:lnTo>
                <a:lnTo>
                  <a:pt x="2117344" y="1217523"/>
                </a:lnTo>
                <a:lnTo>
                  <a:pt x="2066524" y="1224757"/>
                </a:lnTo>
                <a:lnTo>
                  <a:pt x="2015294" y="1230930"/>
                </a:lnTo>
                <a:lnTo>
                  <a:pt x="1963802" y="1236216"/>
                </a:lnTo>
                <a:lnTo>
                  <a:pt x="1912196" y="1240787"/>
                </a:lnTo>
                <a:lnTo>
                  <a:pt x="1860626" y="1244816"/>
                </a:lnTo>
                <a:lnTo>
                  <a:pt x="1681702" y="1257211"/>
                </a:lnTo>
                <a:lnTo>
                  <a:pt x="1604645" y="1263053"/>
                </a:lnTo>
                <a:lnTo>
                  <a:pt x="1554625" y="1267358"/>
                </a:lnTo>
                <a:lnTo>
                  <a:pt x="1504768" y="1271996"/>
                </a:lnTo>
                <a:lnTo>
                  <a:pt x="1454977" y="1276949"/>
                </a:lnTo>
                <a:lnTo>
                  <a:pt x="1405156" y="1282202"/>
                </a:lnTo>
                <a:lnTo>
                  <a:pt x="1305036" y="1293539"/>
                </a:lnTo>
                <a:lnTo>
                  <a:pt x="1203635" y="1305875"/>
                </a:lnTo>
                <a:lnTo>
                  <a:pt x="1100181" y="1319078"/>
                </a:lnTo>
                <a:lnTo>
                  <a:pt x="888892" y="1347114"/>
                </a:lnTo>
                <a:lnTo>
                  <a:pt x="836164" y="1354618"/>
                </a:lnTo>
                <a:lnTo>
                  <a:pt x="783449" y="1362631"/>
                </a:lnTo>
                <a:lnTo>
                  <a:pt x="730869" y="1371307"/>
                </a:lnTo>
                <a:lnTo>
                  <a:pt x="678543" y="1380803"/>
                </a:lnTo>
                <a:lnTo>
                  <a:pt x="626594" y="1391271"/>
                </a:lnTo>
                <a:lnTo>
                  <a:pt x="575143" y="1402866"/>
                </a:lnTo>
                <a:lnTo>
                  <a:pt x="524310" y="1415744"/>
                </a:lnTo>
                <a:lnTo>
                  <a:pt x="474218" y="1430058"/>
                </a:lnTo>
                <a:lnTo>
                  <a:pt x="425245" y="1445709"/>
                </a:lnTo>
                <a:lnTo>
                  <a:pt x="376735" y="1462823"/>
                </a:lnTo>
                <a:lnTo>
                  <a:pt x="328710" y="1481388"/>
                </a:lnTo>
                <a:lnTo>
                  <a:pt x="281193" y="1501394"/>
                </a:lnTo>
                <a:lnTo>
                  <a:pt x="234206" y="1522828"/>
                </a:lnTo>
                <a:lnTo>
                  <a:pt x="187771" y="1545680"/>
                </a:lnTo>
                <a:lnTo>
                  <a:pt x="141910" y="1569938"/>
                </a:lnTo>
                <a:lnTo>
                  <a:pt x="96647" y="1595591"/>
                </a:lnTo>
                <a:lnTo>
                  <a:pt x="0" y="1657350"/>
                </a:lnTo>
                <a:lnTo>
                  <a:pt x="39624" y="1657350"/>
                </a:lnTo>
                <a:lnTo>
                  <a:pt x="113283" y="1610326"/>
                </a:lnTo>
                <a:lnTo>
                  <a:pt x="157827" y="1585068"/>
                </a:lnTo>
                <a:lnTo>
                  <a:pt x="202951" y="1561185"/>
                </a:lnTo>
                <a:lnTo>
                  <a:pt x="248633" y="1538692"/>
                </a:lnTo>
                <a:lnTo>
                  <a:pt x="294846" y="1517598"/>
                </a:lnTo>
                <a:lnTo>
                  <a:pt x="341565" y="1497916"/>
                </a:lnTo>
                <a:lnTo>
                  <a:pt x="388764" y="1479657"/>
                </a:lnTo>
                <a:lnTo>
                  <a:pt x="436419" y="1462833"/>
                </a:lnTo>
                <a:lnTo>
                  <a:pt x="484504" y="1447457"/>
                </a:lnTo>
                <a:lnTo>
                  <a:pt x="533838" y="1433376"/>
                </a:lnTo>
                <a:lnTo>
                  <a:pt x="583991" y="1420690"/>
                </a:lnTo>
                <a:lnTo>
                  <a:pt x="634838" y="1409251"/>
                </a:lnTo>
                <a:lnTo>
                  <a:pt x="686252" y="1398906"/>
                </a:lnTo>
                <a:lnTo>
                  <a:pt x="738108" y="1389508"/>
                </a:lnTo>
                <a:lnTo>
                  <a:pt x="790280" y="1380906"/>
                </a:lnTo>
                <a:lnTo>
                  <a:pt x="842643" y="1372949"/>
                </a:lnTo>
                <a:lnTo>
                  <a:pt x="895070" y="1365489"/>
                </a:lnTo>
                <a:lnTo>
                  <a:pt x="1052829" y="1344430"/>
                </a:lnTo>
                <a:lnTo>
                  <a:pt x="1208240" y="1324414"/>
                </a:lnTo>
                <a:lnTo>
                  <a:pt x="1309243" y="1312125"/>
                </a:lnTo>
                <a:lnTo>
                  <a:pt x="1409017" y="1300836"/>
                </a:lnTo>
                <a:lnTo>
                  <a:pt x="1458674" y="1295607"/>
                </a:lnTo>
                <a:lnTo>
                  <a:pt x="1508299" y="1290678"/>
                </a:lnTo>
                <a:lnTo>
                  <a:pt x="1557983" y="1286065"/>
                </a:lnTo>
                <a:lnTo>
                  <a:pt x="1607820" y="1281785"/>
                </a:lnTo>
                <a:lnTo>
                  <a:pt x="1684527" y="1275943"/>
                </a:lnTo>
                <a:lnTo>
                  <a:pt x="1863905" y="1263611"/>
                </a:lnTo>
                <a:lnTo>
                  <a:pt x="1915839" y="1259556"/>
                </a:lnTo>
                <a:lnTo>
                  <a:pt x="1967853" y="1254947"/>
                </a:lnTo>
                <a:lnTo>
                  <a:pt x="2019803" y="1249610"/>
                </a:lnTo>
                <a:lnTo>
                  <a:pt x="2071544" y="1243374"/>
                </a:lnTo>
                <a:lnTo>
                  <a:pt x="2122931" y="1236065"/>
                </a:lnTo>
                <a:lnTo>
                  <a:pt x="2175427" y="1227338"/>
                </a:lnTo>
                <a:lnTo>
                  <a:pt x="2227626" y="1217578"/>
                </a:lnTo>
                <a:lnTo>
                  <a:pt x="2279499" y="1206975"/>
                </a:lnTo>
                <a:lnTo>
                  <a:pt x="2331015" y="1195718"/>
                </a:lnTo>
                <a:lnTo>
                  <a:pt x="2382141" y="1183999"/>
                </a:lnTo>
                <a:lnTo>
                  <a:pt x="2507585" y="1154030"/>
                </a:lnTo>
                <a:lnTo>
                  <a:pt x="2628410" y="1125711"/>
                </a:lnTo>
                <a:lnTo>
                  <a:pt x="2675955" y="1115176"/>
                </a:lnTo>
                <a:lnTo>
                  <a:pt x="2771402" y="1094875"/>
                </a:lnTo>
                <a:lnTo>
                  <a:pt x="3075100" y="1032691"/>
                </a:lnTo>
                <a:lnTo>
                  <a:pt x="3172611" y="1011826"/>
                </a:lnTo>
                <a:lnTo>
                  <a:pt x="3217568" y="1001769"/>
                </a:lnTo>
                <a:lnTo>
                  <a:pt x="3263407" y="990866"/>
                </a:lnTo>
                <a:lnTo>
                  <a:pt x="3309638" y="978909"/>
                </a:lnTo>
                <a:lnTo>
                  <a:pt x="3355770" y="965690"/>
                </a:lnTo>
                <a:lnTo>
                  <a:pt x="3401314" y="951001"/>
                </a:lnTo>
                <a:lnTo>
                  <a:pt x="3452908" y="931972"/>
                </a:lnTo>
                <a:lnTo>
                  <a:pt x="3501225" y="911600"/>
                </a:lnTo>
                <a:lnTo>
                  <a:pt x="3546205" y="889919"/>
                </a:lnTo>
                <a:lnTo>
                  <a:pt x="3587787" y="866962"/>
                </a:lnTo>
                <a:lnTo>
                  <a:pt x="3625912" y="842764"/>
                </a:lnTo>
                <a:lnTo>
                  <a:pt x="3660521" y="817359"/>
                </a:lnTo>
                <a:lnTo>
                  <a:pt x="3698615" y="784506"/>
                </a:lnTo>
                <a:lnTo>
                  <a:pt x="3733080" y="749835"/>
                </a:lnTo>
                <a:lnTo>
                  <a:pt x="3764581" y="713790"/>
                </a:lnTo>
                <a:lnTo>
                  <a:pt x="3793786" y="676819"/>
                </a:lnTo>
                <a:lnTo>
                  <a:pt x="3821361" y="639366"/>
                </a:lnTo>
                <a:lnTo>
                  <a:pt x="3874369" y="564748"/>
                </a:lnTo>
                <a:lnTo>
                  <a:pt x="3905023" y="523156"/>
                </a:lnTo>
                <a:lnTo>
                  <a:pt x="3927221" y="493961"/>
                </a:lnTo>
                <a:lnTo>
                  <a:pt x="4000602" y="399480"/>
                </a:lnTo>
                <a:lnTo>
                  <a:pt x="4029216" y="362150"/>
                </a:lnTo>
                <a:lnTo>
                  <a:pt x="4057364" y="324392"/>
                </a:lnTo>
                <a:lnTo>
                  <a:pt x="4084644" y="286193"/>
                </a:lnTo>
                <a:lnTo>
                  <a:pt x="4110654" y="247536"/>
                </a:lnTo>
                <a:lnTo>
                  <a:pt x="4134993" y="208406"/>
                </a:lnTo>
                <a:lnTo>
                  <a:pt x="4210050" y="58293"/>
                </a:lnTo>
                <a:lnTo>
                  <a:pt x="4210050" y="0"/>
                </a:lnTo>
                <a:close/>
              </a:path>
            </a:pathLst>
          </a:custGeom>
          <a:solidFill>
            <a:srgbClr val="48B54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bg object 20"/>
          <p:cNvSpPr/>
          <p:nvPr/>
        </p:nvSpPr>
        <p:spPr>
          <a:xfrm>
            <a:off x="14287" y="23876"/>
            <a:ext cx="12116435" cy="6819900"/>
          </a:xfrm>
          <a:custGeom>
            <a:avLst/>
            <a:gdLst/>
            <a:ahLst/>
            <a:cxnLst/>
            <a:rect l="l" t="t" r="r" b="b"/>
            <a:pathLst>
              <a:path w="12116435" h="6819900">
                <a:moveTo>
                  <a:pt x="9525" y="3324098"/>
                </a:moveTo>
                <a:lnTo>
                  <a:pt x="50287" y="3292457"/>
                </a:lnTo>
                <a:lnTo>
                  <a:pt x="90954" y="3260709"/>
                </a:lnTo>
                <a:lnTo>
                  <a:pt x="131454" y="3228746"/>
                </a:lnTo>
                <a:lnTo>
                  <a:pt x="171716" y="3196463"/>
                </a:lnTo>
                <a:lnTo>
                  <a:pt x="210124" y="3165272"/>
                </a:lnTo>
                <a:lnTo>
                  <a:pt x="248289" y="3133750"/>
                </a:lnTo>
                <a:lnTo>
                  <a:pt x="286039" y="3101753"/>
                </a:lnTo>
                <a:lnTo>
                  <a:pt x="323202" y="3069139"/>
                </a:lnTo>
                <a:lnTo>
                  <a:pt x="359607" y="3035764"/>
                </a:lnTo>
                <a:lnTo>
                  <a:pt x="395082" y="3001485"/>
                </a:lnTo>
                <a:lnTo>
                  <a:pt x="429455" y="2966158"/>
                </a:lnTo>
                <a:lnTo>
                  <a:pt x="462554" y="2929641"/>
                </a:lnTo>
                <a:lnTo>
                  <a:pt x="494207" y="2891790"/>
                </a:lnTo>
                <a:lnTo>
                  <a:pt x="518891" y="2860226"/>
                </a:lnTo>
                <a:lnTo>
                  <a:pt x="543439" y="2828639"/>
                </a:lnTo>
                <a:lnTo>
                  <a:pt x="568663" y="2797671"/>
                </a:lnTo>
                <a:lnTo>
                  <a:pt x="595376" y="2767965"/>
                </a:lnTo>
                <a:lnTo>
                  <a:pt x="636231" y="2729787"/>
                </a:lnTo>
                <a:lnTo>
                  <a:pt x="680426" y="2695527"/>
                </a:lnTo>
                <a:lnTo>
                  <a:pt x="726933" y="2664148"/>
                </a:lnTo>
                <a:lnTo>
                  <a:pt x="774725" y="2634615"/>
                </a:lnTo>
                <a:lnTo>
                  <a:pt x="819885" y="2607935"/>
                </a:lnTo>
                <a:lnTo>
                  <a:pt x="865510" y="2582085"/>
                </a:lnTo>
                <a:lnTo>
                  <a:pt x="911643" y="2557192"/>
                </a:lnTo>
                <a:lnTo>
                  <a:pt x="958329" y="2533384"/>
                </a:lnTo>
                <a:lnTo>
                  <a:pt x="1005611" y="2510790"/>
                </a:lnTo>
                <a:lnTo>
                  <a:pt x="1042828" y="2493823"/>
                </a:lnTo>
                <a:lnTo>
                  <a:pt x="1079815" y="2476500"/>
                </a:lnTo>
                <a:lnTo>
                  <a:pt x="1115962" y="2457747"/>
                </a:lnTo>
                <a:lnTo>
                  <a:pt x="1150658" y="2436495"/>
                </a:lnTo>
                <a:lnTo>
                  <a:pt x="1187397" y="2408326"/>
                </a:lnTo>
                <a:lnTo>
                  <a:pt x="1221070" y="2376598"/>
                </a:lnTo>
                <a:lnTo>
                  <a:pt x="1252213" y="2342179"/>
                </a:lnTo>
                <a:lnTo>
                  <a:pt x="1281366" y="2305939"/>
                </a:lnTo>
                <a:lnTo>
                  <a:pt x="1309804" y="2267442"/>
                </a:lnTo>
                <a:lnTo>
                  <a:pt x="1336702" y="2227885"/>
                </a:lnTo>
                <a:lnTo>
                  <a:pt x="1362122" y="2187360"/>
                </a:lnTo>
                <a:lnTo>
                  <a:pt x="1386128" y="2145957"/>
                </a:lnTo>
                <a:lnTo>
                  <a:pt x="1408781" y="2103768"/>
                </a:lnTo>
                <a:lnTo>
                  <a:pt x="1430143" y="2060883"/>
                </a:lnTo>
                <a:lnTo>
                  <a:pt x="1450276" y="2017395"/>
                </a:lnTo>
                <a:lnTo>
                  <a:pt x="1469185" y="1973639"/>
                </a:lnTo>
                <a:lnTo>
                  <a:pt x="1487154" y="1929479"/>
                </a:lnTo>
                <a:lnTo>
                  <a:pt x="1504336" y="1884985"/>
                </a:lnTo>
                <a:lnTo>
                  <a:pt x="1520888" y="1840229"/>
                </a:lnTo>
                <a:lnTo>
                  <a:pt x="1538951" y="1790206"/>
                </a:lnTo>
                <a:lnTo>
                  <a:pt x="1557271" y="1740309"/>
                </a:lnTo>
                <a:lnTo>
                  <a:pt x="1576530" y="1690877"/>
                </a:lnTo>
                <a:lnTo>
                  <a:pt x="1597408" y="1642251"/>
                </a:lnTo>
                <a:lnTo>
                  <a:pt x="1620586" y="1594767"/>
                </a:lnTo>
                <a:lnTo>
                  <a:pt x="1646745" y="1548764"/>
                </a:lnTo>
                <a:lnTo>
                  <a:pt x="1674334" y="1507392"/>
                </a:lnTo>
                <a:lnTo>
                  <a:pt x="1704177" y="1467640"/>
                </a:lnTo>
                <a:lnTo>
                  <a:pt x="1735566" y="1428988"/>
                </a:lnTo>
                <a:lnTo>
                  <a:pt x="1767790" y="1390918"/>
                </a:lnTo>
                <a:lnTo>
                  <a:pt x="1800142" y="1352911"/>
                </a:lnTo>
                <a:lnTo>
                  <a:pt x="1831911" y="1314450"/>
                </a:lnTo>
                <a:lnTo>
                  <a:pt x="1860813" y="1277399"/>
                </a:lnTo>
                <a:lnTo>
                  <a:pt x="1888718" y="1239618"/>
                </a:lnTo>
                <a:lnTo>
                  <a:pt x="1915810" y="1201245"/>
                </a:lnTo>
                <a:lnTo>
                  <a:pt x="1942279" y="1162416"/>
                </a:lnTo>
                <a:lnTo>
                  <a:pt x="1968310" y="1123270"/>
                </a:lnTo>
                <a:lnTo>
                  <a:pt x="1994090" y="1083945"/>
                </a:lnTo>
                <a:lnTo>
                  <a:pt x="2022322" y="1040492"/>
                </a:lnTo>
                <a:lnTo>
                  <a:pt x="2050022" y="996714"/>
                </a:lnTo>
                <a:lnTo>
                  <a:pt x="2076656" y="952372"/>
                </a:lnTo>
                <a:lnTo>
                  <a:pt x="2101692" y="907226"/>
                </a:lnTo>
                <a:lnTo>
                  <a:pt x="2124597" y="861036"/>
                </a:lnTo>
                <a:lnTo>
                  <a:pt x="2144839" y="813562"/>
                </a:lnTo>
                <a:lnTo>
                  <a:pt x="2160127" y="770286"/>
                </a:lnTo>
                <a:lnTo>
                  <a:pt x="2172843" y="726249"/>
                </a:lnTo>
                <a:lnTo>
                  <a:pt x="2182987" y="681545"/>
                </a:lnTo>
                <a:lnTo>
                  <a:pt x="2190559" y="636270"/>
                </a:lnTo>
                <a:lnTo>
                  <a:pt x="2195532" y="593605"/>
                </a:lnTo>
                <a:lnTo>
                  <a:pt x="2198624" y="550799"/>
                </a:lnTo>
                <a:lnTo>
                  <a:pt x="2200096" y="507896"/>
                </a:lnTo>
                <a:lnTo>
                  <a:pt x="2200211" y="464947"/>
                </a:lnTo>
                <a:lnTo>
                  <a:pt x="2198967" y="420683"/>
                </a:lnTo>
                <a:lnTo>
                  <a:pt x="2195877" y="376586"/>
                </a:lnTo>
                <a:lnTo>
                  <a:pt x="2190192" y="332823"/>
                </a:lnTo>
                <a:lnTo>
                  <a:pt x="2181161" y="289559"/>
                </a:lnTo>
                <a:lnTo>
                  <a:pt x="2153243" y="201132"/>
                </a:lnTo>
                <a:lnTo>
                  <a:pt x="2117455" y="106394"/>
                </a:lnTo>
                <a:lnTo>
                  <a:pt x="2086596" y="30849"/>
                </a:lnTo>
                <a:lnTo>
                  <a:pt x="2073465" y="0"/>
                </a:lnTo>
              </a:path>
              <a:path w="12116435" h="6819900">
                <a:moveTo>
                  <a:pt x="0" y="3067050"/>
                </a:moveTo>
                <a:lnTo>
                  <a:pt x="34880" y="3033579"/>
                </a:lnTo>
                <a:lnTo>
                  <a:pt x="73722" y="2994818"/>
                </a:lnTo>
                <a:lnTo>
                  <a:pt x="113428" y="2953856"/>
                </a:lnTo>
                <a:lnTo>
                  <a:pt x="150902" y="2913784"/>
                </a:lnTo>
                <a:lnTo>
                  <a:pt x="183045" y="2877693"/>
                </a:lnTo>
                <a:lnTo>
                  <a:pt x="213924" y="2840019"/>
                </a:lnTo>
                <a:lnTo>
                  <a:pt x="243595" y="2801401"/>
                </a:lnTo>
                <a:lnTo>
                  <a:pt x="272979" y="2762570"/>
                </a:lnTo>
                <a:lnTo>
                  <a:pt x="303001" y="2724256"/>
                </a:lnTo>
                <a:lnTo>
                  <a:pt x="334581" y="2687193"/>
                </a:lnTo>
                <a:lnTo>
                  <a:pt x="360995" y="2659389"/>
                </a:lnTo>
                <a:lnTo>
                  <a:pt x="388358" y="2632503"/>
                </a:lnTo>
                <a:lnTo>
                  <a:pt x="416004" y="2605879"/>
                </a:lnTo>
                <a:lnTo>
                  <a:pt x="443268" y="2578862"/>
                </a:lnTo>
                <a:lnTo>
                  <a:pt x="476632" y="2543669"/>
                </a:lnTo>
                <a:lnTo>
                  <a:pt x="509274" y="2507821"/>
                </a:lnTo>
                <a:lnTo>
                  <a:pt x="541857" y="2471902"/>
                </a:lnTo>
                <a:lnTo>
                  <a:pt x="575043" y="2436495"/>
                </a:lnTo>
                <a:lnTo>
                  <a:pt x="594562" y="2416712"/>
                </a:lnTo>
                <a:lnTo>
                  <a:pt x="614360" y="2397204"/>
                </a:lnTo>
                <a:lnTo>
                  <a:pt x="634195" y="2377719"/>
                </a:lnTo>
                <a:lnTo>
                  <a:pt x="653821" y="2358009"/>
                </a:lnTo>
                <a:lnTo>
                  <a:pt x="688972" y="2321109"/>
                </a:lnTo>
                <a:lnTo>
                  <a:pt x="723355" y="2283507"/>
                </a:lnTo>
                <a:lnTo>
                  <a:pt x="757178" y="2245405"/>
                </a:lnTo>
                <a:lnTo>
                  <a:pt x="790651" y="2207006"/>
                </a:lnTo>
                <a:lnTo>
                  <a:pt x="816834" y="2176768"/>
                </a:lnTo>
                <a:lnTo>
                  <a:pt x="843005" y="2146554"/>
                </a:lnTo>
                <a:lnTo>
                  <a:pt x="869030" y="2116244"/>
                </a:lnTo>
                <a:lnTo>
                  <a:pt x="894778" y="2085721"/>
                </a:lnTo>
                <a:lnTo>
                  <a:pt x="937826" y="2032857"/>
                </a:lnTo>
                <a:lnTo>
                  <a:pt x="978636" y="1978278"/>
                </a:lnTo>
                <a:lnTo>
                  <a:pt x="1005696" y="1937950"/>
                </a:lnTo>
                <a:lnTo>
                  <a:pt x="1031250" y="1896690"/>
                </a:lnTo>
                <a:lnTo>
                  <a:pt x="1055708" y="1854752"/>
                </a:lnTo>
                <a:lnTo>
                  <a:pt x="1079482" y="1812394"/>
                </a:lnTo>
                <a:lnTo>
                  <a:pt x="1102982" y="1769872"/>
                </a:lnTo>
                <a:lnTo>
                  <a:pt x="1138383" y="1704848"/>
                </a:lnTo>
                <a:lnTo>
                  <a:pt x="1173022" y="1639443"/>
                </a:lnTo>
                <a:lnTo>
                  <a:pt x="1189159" y="1608510"/>
                </a:lnTo>
                <a:lnTo>
                  <a:pt x="1205607" y="1577721"/>
                </a:lnTo>
                <a:lnTo>
                  <a:pt x="1242098" y="1518285"/>
                </a:lnTo>
                <a:lnTo>
                  <a:pt x="1270707" y="1481047"/>
                </a:lnTo>
                <a:lnTo>
                  <a:pt x="1301732" y="1445846"/>
                </a:lnTo>
                <a:lnTo>
                  <a:pt x="1334393" y="1412004"/>
                </a:lnTo>
                <a:lnTo>
                  <a:pt x="1367912" y="1378845"/>
                </a:lnTo>
                <a:lnTo>
                  <a:pt x="1401508" y="1345691"/>
                </a:lnTo>
                <a:lnTo>
                  <a:pt x="1429718" y="1317113"/>
                </a:lnTo>
                <a:lnTo>
                  <a:pt x="1457833" y="1288414"/>
                </a:lnTo>
                <a:lnTo>
                  <a:pt x="1486233" y="1260002"/>
                </a:lnTo>
                <a:lnTo>
                  <a:pt x="1515300" y="1232281"/>
                </a:lnTo>
                <a:lnTo>
                  <a:pt x="1552561" y="1198961"/>
                </a:lnTo>
                <a:lnTo>
                  <a:pt x="1590309" y="1166129"/>
                </a:lnTo>
                <a:lnTo>
                  <a:pt x="1627510" y="1132750"/>
                </a:lnTo>
                <a:lnTo>
                  <a:pt x="1663128" y="1097788"/>
                </a:lnTo>
                <a:lnTo>
                  <a:pt x="1700345" y="1055957"/>
                </a:lnTo>
                <a:lnTo>
                  <a:pt x="1735216" y="1012126"/>
                </a:lnTo>
                <a:lnTo>
                  <a:pt x="1768588" y="967057"/>
                </a:lnTo>
                <a:lnTo>
                  <a:pt x="1801304" y="921512"/>
                </a:lnTo>
                <a:lnTo>
                  <a:pt x="1837864" y="869632"/>
                </a:lnTo>
                <a:lnTo>
                  <a:pt x="1871281" y="815848"/>
                </a:lnTo>
                <a:lnTo>
                  <a:pt x="1902047" y="752538"/>
                </a:lnTo>
                <a:lnTo>
                  <a:pt x="1928431" y="687324"/>
                </a:lnTo>
                <a:lnTo>
                  <a:pt x="1940538" y="656740"/>
                </a:lnTo>
                <a:lnTo>
                  <a:pt x="1962989" y="594955"/>
                </a:lnTo>
                <a:lnTo>
                  <a:pt x="1975385" y="546179"/>
                </a:lnTo>
                <a:lnTo>
                  <a:pt x="1981136" y="494029"/>
                </a:lnTo>
                <a:lnTo>
                  <a:pt x="1979852" y="449046"/>
                </a:lnTo>
                <a:lnTo>
                  <a:pt x="1974103" y="404479"/>
                </a:lnTo>
                <a:lnTo>
                  <a:pt x="1963902" y="360745"/>
                </a:lnTo>
                <a:lnTo>
                  <a:pt x="1949259" y="318262"/>
                </a:lnTo>
                <a:lnTo>
                  <a:pt x="1889192" y="214098"/>
                </a:lnTo>
                <a:lnTo>
                  <a:pt x="1807813" y="110743"/>
                </a:lnTo>
                <a:lnTo>
                  <a:pt x="1736197" y="31583"/>
                </a:lnTo>
                <a:lnTo>
                  <a:pt x="1705419" y="0"/>
                </a:lnTo>
              </a:path>
              <a:path w="12116435" h="6819900">
                <a:moveTo>
                  <a:pt x="1150543" y="0"/>
                </a:moveTo>
                <a:lnTo>
                  <a:pt x="1188573" y="81581"/>
                </a:lnTo>
                <a:lnTo>
                  <a:pt x="1213676" y="133320"/>
                </a:lnTo>
                <a:lnTo>
                  <a:pt x="1239835" y="178450"/>
                </a:lnTo>
                <a:lnTo>
                  <a:pt x="1268498" y="205882"/>
                </a:lnTo>
                <a:lnTo>
                  <a:pt x="1321304" y="246629"/>
                </a:lnTo>
                <a:lnTo>
                  <a:pt x="1358511" y="274875"/>
                </a:lnTo>
                <a:lnTo>
                  <a:pt x="1395126" y="303720"/>
                </a:lnTo>
                <a:lnTo>
                  <a:pt x="1430492" y="333835"/>
                </a:lnTo>
                <a:lnTo>
                  <a:pt x="1463953" y="365891"/>
                </a:lnTo>
                <a:lnTo>
                  <a:pt x="1494853" y="400558"/>
                </a:lnTo>
                <a:lnTo>
                  <a:pt x="1526998" y="445123"/>
                </a:lnTo>
                <a:lnTo>
                  <a:pt x="1553035" y="493045"/>
                </a:lnTo>
                <a:lnTo>
                  <a:pt x="1571380" y="543968"/>
                </a:lnTo>
                <a:lnTo>
                  <a:pt x="1580451" y="597535"/>
                </a:lnTo>
                <a:lnTo>
                  <a:pt x="1579433" y="650220"/>
                </a:lnTo>
                <a:lnTo>
                  <a:pt x="1569831" y="701928"/>
                </a:lnTo>
                <a:lnTo>
                  <a:pt x="1553251" y="752304"/>
                </a:lnTo>
                <a:lnTo>
                  <a:pt x="1531302" y="800988"/>
                </a:lnTo>
                <a:lnTo>
                  <a:pt x="1505590" y="847179"/>
                </a:lnTo>
                <a:lnTo>
                  <a:pt x="1476200" y="890952"/>
                </a:lnTo>
                <a:lnTo>
                  <a:pt x="1443023" y="931844"/>
                </a:lnTo>
                <a:lnTo>
                  <a:pt x="1405953" y="969390"/>
                </a:lnTo>
                <a:lnTo>
                  <a:pt x="1366719" y="1001946"/>
                </a:lnTo>
                <a:lnTo>
                  <a:pt x="1324778" y="1030859"/>
                </a:lnTo>
                <a:lnTo>
                  <a:pt x="1280612" y="1056437"/>
                </a:lnTo>
                <a:lnTo>
                  <a:pt x="1234706" y="1078991"/>
                </a:lnTo>
                <a:lnTo>
                  <a:pt x="1189051" y="1098440"/>
                </a:lnTo>
                <a:lnTo>
                  <a:pt x="1142984" y="1116853"/>
                </a:lnTo>
                <a:lnTo>
                  <a:pt x="1097178" y="1135766"/>
                </a:lnTo>
                <a:lnTo>
                  <a:pt x="1052309" y="1156715"/>
                </a:lnTo>
                <a:lnTo>
                  <a:pt x="991131" y="1193625"/>
                </a:lnTo>
                <a:lnTo>
                  <a:pt x="938098" y="1240916"/>
                </a:lnTo>
                <a:lnTo>
                  <a:pt x="914350" y="1271656"/>
                </a:lnTo>
                <a:lnTo>
                  <a:pt x="894276" y="1304909"/>
                </a:lnTo>
                <a:lnTo>
                  <a:pt x="877079" y="1339947"/>
                </a:lnTo>
                <a:lnTo>
                  <a:pt x="861961" y="1376045"/>
                </a:lnTo>
                <a:lnTo>
                  <a:pt x="844737" y="1422282"/>
                </a:lnTo>
                <a:lnTo>
                  <a:pt x="829009" y="1469056"/>
                </a:lnTo>
                <a:lnTo>
                  <a:pt x="814289" y="1516187"/>
                </a:lnTo>
                <a:lnTo>
                  <a:pt x="800087" y="1563497"/>
                </a:lnTo>
                <a:lnTo>
                  <a:pt x="789129" y="1600362"/>
                </a:lnTo>
                <a:lnTo>
                  <a:pt x="778282" y="1637252"/>
                </a:lnTo>
                <a:lnTo>
                  <a:pt x="767638" y="1674189"/>
                </a:lnTo>
                <a:lnTo>
                  <a:pt x="757288" y="1711198"/>
                </a:lnTo>
                <a:lnTo>
                  <a:pt x="745583" y="1754181"/>
                </a:lnTo>
                <a:lnTo>
                  <a:pt x="733504" y="1797034"/>
                </a:lnTo>
                <a:lnTo>
                  <a:pt x="720230" y="1839481"/>
                </a:lnTo>
                <a:lnTo>
                  <a:pt x="704938" y="1881251"/>
                </a:lnTo>
                <a:lnTo>
                  <a:pt x="686345" y="1923490"/>
                </a:lnTo>
                <a:lnTo>
                  <a:pt x="665453" y="1964658"/>
                </a:lnTo>
                <a:lnTo>
                  <a:pt x="642900" y="2005016"/>
                </a:lnTo>
                <a:lnTo>
                  <a:pt x="619328" y="2044827"/>
                </a:lnTo>
                <a:lnTo>
                  <a:pt x="582785" y="2104151"/>
                </a:lnTo>
                <a:lnTo>
                  <a:pt x="544766" y="2162429"/>
                </a:lnTo>
                <a:lnTo>
                  <a:pt x="514583" y="2205998"/>
                </a:lnTo>
                <a:lnTo>
                  <a:pt x="483226" y="2248701"/>
                </a:lnTo>
                <a:lnTo>
                  <a:pt x="450629" y="2290435"/>
                </a:lnTo>
                <a:lnTo>
                  <a:pt x="416724" y="2331097"/>
                </a:lnTo>
                <a:lnTo>
                  <a:pt x="381444" y="2370582"/>
                </a:lnTo>
                <a:lnTo>
                  <a:pt x="349089" y="2404481"/>
                </a:lnTo>
                <a:lnTo>
                  <a:pt x="316002" y="2437653"/>
                </a:lnTo>
                <a:lnTo>
                  <a:pt x="282537" y="2470469"/>
                </a:lnTo>
                <a:lnTo>
                  <a:pt x="249047" y="2503297"/>
                </a:lnTo>
                <a:lnTo>
                  <a:pt x="220328" y="2531693"/>
                </a:lnTo>
                <a:lnTo>
                  <a:pt x="191779" y="2560256"/>
                </a:lnTo>
                <a:lnTo>
                  <a:pt x="163311" y="2588914"/>
                </a:lnTo>
                <a:lnTo>
                  <a:pt x="134835" y="2617597"/>
                </a:lnTo>
                <a:lnTo>
                  <a:pt x="105931" y="2646628"/>
                </a:lnTo>
                <a:lnTo>
                  <a:pt x="76991" y="2675636"/>
                </a:lnTo>
                <a:lnTo>
                  <a:pt x="48026" y="2704643"/>
                </a:lnTo>
                <a:lnTo>
                  <a:pt x="19050" y="2733675"/>
                </a:lnTo>
              </a:path>
              <a:path w="12116435" h="6819900">
                <a:moveTo>
                  <a:pt x="0" y="2638425"/>
                </a:moveTo>
                <a:lnTo>
                  <a:pt x="24848" y="2614074"/>
                </a:lnTo>
                <a:lnTo>
                  <a:pt x="57359" y="2582444"/>
                </a:lnTo>
                <a:lnTo>
                  <a:pt x="95326" y="2545597"/>
                </a:lnTo>
                <a:lnTo>
                  <a:pt x="136541" y="2505595"/>
                </a:lnTo>
                <a:lnTo>
                  <a:pt x="178798" y="2464502"/>
                </a:lnTo>
                <a:lnTo>
                  <a:pt x="219891" y="2424378"/>
                </a:lnTo>
                <a:lnTo>
                  <a:pt x="257611" y="2387286"/>
                </a:lnTo>
                <a:lnTo>
                  <a:pt x="289753" y="2355289"/>
                </a:lnTo>
                <a:lnTo>
                  <a:pt x="348685" y="2293801"/>
                </a:lnTo>
                <a:lnTo>
                  <a:pt x="382470" y="2256423"/>
                </a:lnTo>
                <a:lnTo>
                  <a:pt x="415245" y="2218197"/>
                </a:lnTo>
                <a:lnTo>
                  <a:pt x="446793" y="2179009"/>
                </a:lnTo>
                <a:lnTo>
                  <a:pt x="476894" y="2138741"/>
                </a:lnTo>
                <a:lnTo>
                  <a:pt x="505333" y="2097278"/>
                </a:lnTo>
                <a:lnTo>
                  <a:pt x="530225" y="2057314"/>
                </a:lnTo>
                <a:lnTo>
                  <a:pt x="553289" y="2016331"/>
                </a:lnTo>
                <a:lnTo>
                  <a:pt x="574484" y="1974389"/>
                </a:lnTo>
                <a:lnTo>
                  <a:pt x="593770" y="1931547"/>
                </a:lnTo>
                <a:lnTo>
                  <a:pt x="611106" y="1887866"/>
                </a:lnTo>
                <a:lnTo>
                  <a:pt x="626452" y="1843404"/>
                </a:lnTo>
                <a:lnTo>
                  <a:pt x="641193" y="1793358"/>
                </a:lnTo>
                <a:lnTo>
                  <a:pt x="653871" y="1742791"/>
                </a:lnTo>
                <a:lnTo>
                  <a:pt x="664961" y="1691822"/>
                </a:lnTo>
                <a:lnTo>
                  <a:pt x="674940" y="1640569"/>
                </a:lnTo>
                <a:lnTo>
                  <a:pt x="684283" y="1589149"/>
                </a:lnTo>
                <a:lnTo>
                  <a:pt x="693468" y="1537680"/>
                </a:lnTo>
                <a:lnTo>
                  <a:pt x="702970" y="1486281"/>
                </a:lnTo>
                <a:lnTo>
                  <a:pt x="712679" y="1437814"/>
                </a:lnTo>
                <a:lnTo>
                  <a:pt x="723118" y="1389482"/>
                </a:lnTo>
                <a:lnTo>
                  <a:pt x="734120" y="1341266"/>
                </a:lnTo>
                <a:lnTo>
                  <a:pt x="745519" y="1293147"/>
                </a:lnTo>
                <a:lnTo>
                  <a:pt x="757148" y="1245108"/>
                </a:lnTo>
                <a:lnTo>
                  <a:pt x="770652" y="1190811"/>
                </a:lnTo>
                <a:lnTo>
                  <a:pt x="786082" y="1137158"/>
                </a:lnTo>
                <a:lnTo>
                  <a:pt x="805365" y="1085123"/>
                </a:lnTo>
                <a:lnTo>
                  <a:pt x="830427" y="1035685"/>
                </a:lnTo>
                <a:lnTo>
                  <a:pt x="868229" y="985488"/>
                </a:lnTo>
                <a:lnTo>
                  <a:pt x="918108" y="948436"/>
                </a:lnTo>
                <a:lnTo>
                  <a:pt x="967401" y="932096"/>
                </a:lnTo>
                <a:lnTo>
                  <a:pt x="1019513" y="926591"/>
                </a:lnTo>
                <a:lnTo>
                  <a:pt x="1073122" y="926040"/>
                </a:lnTo>
                <a:lnTo>
                  <a:pt x="1126909" y="924560"/>
                </a:lnTo>
                <a:lnTo>
                  <a:pt x="1166240" y="919726"/>
                </a:lnTo>
                <a:lnTo>
                  <a:pt x="1204560" y="910558"/>
                </a:lnTo>
                <a:lnTo>
                  <a:pt x="1241112" y="896485"/>
                </a:lnTo>
                <a:lnTo>
                  <a:pt x="1275143" y="876935"/>
                </a:lnTo>
                <a:lnTo>
                  <a:pt x="1309741" y="847441"/>
                </a:lnTo>
                <a:lnTo>
                  <a:pt x="1337516" y="811958"/>
                </a:lnTo>
                <a:lnTo>
                  <a:pt x="1357600" y="771689"/>
                </a:lnTo>
                <a:lnTo>
                  <a:pt x="1369123" y="727837"/>
                </a:lnTo>
                <a:lnTo>
                  <a:pt x="1371560" y="699454"/>
                </a:lnTo>
                <a:lnTo>
                  <a:pt x="1370044" y="671179"/>
                </a:lnTo>
                <a:lnTo>
                  <a:pt x="1354772" y="616712"/>
                </a:lnTo>
                <a:lnTo>
                  <a:pt x="1312656" y="554863"/>
                </a:lnTo>
                <a:lnTo>
                  <a:pt x="1255966" y="504063"/>
                </a:lnTo>
                <a:lnTo>
                  <a:pt x="1216912" y="475702"/>
                </a:lnTo>
                <a:lnTo>
                  <a:pt x="1176193" y="449865"/>
                </a:lnTo>
                <a:lnTo>
                  <a:pt x="1133942" y="426553"/>
                </a:lnTo>
                <a:lnTo>
                  <a:pt x="1090295" y="405764"/>
                </a:lnTo>
                <a:lnTo>
                  <a:pt x="1037740" y="383835"/>
                </a:lnTo>
                <a:lnTo>
                  <a:pt x="985423" y="361775"/>
                </a:lnTo>
                <a:lnTo>
                  <a:pt x="935341" y="336309"/>
                </a:lnTo>
                <a:lnTo>
                  <a:pt x="889495" y="304165"/>
                </a:lnTo>
                <a:lnTo>
                  <a:pt x="840971" y="247888"/>
                </a:lnTo>
                <a:lnTo>
                  <a:pt x="822566" y="178943"/>
                </a:lnTo>
                <a:lnTo>
                  <a:pt x="838977" y="134695"/>
                </a:lnTo>
                <a:lnTo>
                  <a:pt x="873718" y="74993"/>
                </a:lnTo>
                <a:lnTo>
                  <a:pt x="908198" y="22530"/>
                </a:lnTo>
                <a:lnTo>
                  <a:pt x="923823" y="0"/>
                </a:lnTo>
              </a:path>
              <a:path w="12116435" h="6819900">
                <a:moveTo>
                  <a:pt x="16946" y="523875"/>
                </a:moveTo>
                <a:lnTo>
                  <a:pt x="58234" y="526496"/>
                </a:lnTo>
                <a:lnTo>
                  <a:pt x="106823" y="531830"/>
                </a:lnTo>
                <a:lnTo>
                  <a:pt x="157576" y="539511"/>
                </a:lnTo>
                <a:lnTo>
                  <a:pt x="205359" y="549173"/>
                </a:lnTo>
                <a:lnTo>
                  <a:pt x="245033" y="560451"/>
                </a:lnTo>
                <a:lnTo>
                  <a:pt x="284421" y="575817"/>
                </a:lnTo>
                <a:lnTo>
                  <a:pt x="322289" y="594232"/>
                </a:lnTo>
                <a:lnTo>
                  <a:pt x="357778" y="616457"/>
                </a:lnTo>
                <a:lnTo>
                  <a:pt x="390029" y="643254"/>
                </a:lnTo>
                <a:lnTo>
                  <a:pt x="436298" y="701389"/>
                </a:lnTo>
                <a:lnTo>
                  <a:pt x="468109" y="768858"/>
                </a:lnTo>
                <a:lnTo>
                  <a:pt x="480026" y="808343"/>
                </a:lnTo>
                <a:lnTo>
                  <a:pt x="488437" y="848709"/>
                </a:lnTo>
                <a:lnTo>
                  <a:pt x="493850" y="889694"/>
                </a:lnTo>
                <a:lnTo>
                  <a:pt x="496773" y="931037"/>
                </a:lnTo>
                <a:lnTo>
                  <a:pt x="497770" y="981863"/>
                </a:lnTo>
                <a:lnTo>
                  <a:pt x="496848" y="1032695"/>
                </a:lnTo>
                <a:lnTo>
                  <a:pt x="494998" y="1083540"/>
                </a:lnTo>
                <a:lnTo>
                  <a:pt x="493208" y="1134403"/>
                </a:lnTo>
                <a:lnTo>
                  <a:pt x="492467" y="1185290"/>
                </a:lnTo>
                <a:lnTo>
                  <a:pt x="493420" y="1233119"/>
                </a:lnTo>
                <a:lnTo>
                  <a:pt x="495608" y="1280926"/>
                </a:lnTo>
                <a:lnTo>
                  <a:pt x="498435" y="1328719"/>
                </a:lnTo>
                <a:lnTo>
                  <a:pt x="501304" y="1376507"/>
                </a:lnTo>
                <a:lnTo>
                  <a:pt x="503620" y="1424300"/>
                </a:lnTo>
                <a:lnTo>
                  <a:pt x="504784" y="1472107"/>
                </a:lnTo>
                <a:lnTo>
                  <a:pt x="504202" y="1519936"/>
                </a:lnTo>
                <a:lnTo>
                  <a:pt x="501295" y="1568989"/>
                </a:lnTo>
                <a:lnTo>
                  <a:pt x="496225" y="1617852"/>
                </a:lnTo>
                <a:lnTo>
                  <a:pt x="489324" y="1666525"/>
                </a:lnTo>
                <a:lnTo>
                  <a:pt x="480923" y="1715008"/>
                </a:lnTo>
                <a:lnTo>
                  <a:pt x="471297" y="1762373"/>
                </a:lnTo>
                <a:lnTo>
                  <a:pt x="460005" y="1809321"/>
                </a:lnTo>
                <a:lnTo>
                  <a:pt x="446738" y="1855722"/>
                </a:lnTo>
                <a:lnTo>
                  <a:pt x="431190" y="1901444"/>
                </a:lnTo>
                <a:lnTo>
                  <a:pt x="411931" y="1948805"/>
                </a:lnTo>
                <a:lnTo>
                  <a:pt x="389945" y="1994878"/>
                </a:lnTo>
                <a:lnTo>
                  <a:pt x="365439" y="2039667"/>
                </a:lnTo>
                <a:lnTo>
                  <a:pt x="338624" y="2083176"/>
                </a:lnTo>
                <a:lnTo>
                  <a:pt x="309709" y="2125407"/>
                </a:lnTo>
                <a:lnTo>
                  <a:pt x="278904" y="2166366"/>
                </a:lnTo>
                <a:lnTo>
                  <a:pt x="241220" y="2213117"/>
                </a:lnTo>
                <a:lnTo>
                  <a:pt x="206092" y="2254009"/>
                </a:lnTo>
                <a:lnTo>
                  <a:pt x="171826" y="2290706"/>
                </a:lnTo>
                <a:lnTo>
                  <a:pt x="136729" y="2324875"/>
                </a:lnTo>
                <a:lnTo>
                  <a:pt x="99109" y="2358182"/>
                </a:lnTo>
                <a:lnTo>
                  <a:pt x="57272" y="2392293"/>
                </a:lnTo>
                <a:lnTo>
                  <a:pt x="9525" y="2428875"/>
                </a:lnTo>
              </a:path>
              <a:path w="12116435" h="6819900">
                <a:moveTo>
                  <a:pt x="11037" y="658495"/>
                </a:moveTo>
                <a:lnTo>
                  <a:pt x="57638" y="657604"/>
                </a:lnTo>
                <a:lnTo>
                  <a:pt x="108444" y="663273"/>
                </a:lnTo>
                <a:lnTo>
                  <a:pt x="157993" y="675157"/>
                </a:lnTo>
                <a:lnTo>
                  <a:pt x="200825" y="692912"/>
                </a:lnTo>
                <a:lnTo>
                  <a:pt x="245505" y="722570"/>
                </a:lnTo>
                <a:lnTo>
                  <a:pt x="283906" y="759205"/>
                </a:lnTo>
                <a:lnTo>
                  <a:pt x="314819" y="802032"/>
                </a:lnTo>
                <a:lnTo>
                  <a:pt x="337032" y="850264"/>
                </a:lnTo>
                <a:lnTo>
                  <a:pt x="348816" y="896484"/>
                </a:lnTo>
                <a:lnTo>
                  <a:pt x="354145" y="943671"/>
                </a:lnTo>
                <a:lnTo>
                  <a:pt x="355058" y="991584"/>
                </a:lnTo>
                <a:lnTo>
                  <a:pt x="353596" y="1039984"/>
                </a:lnTo>
                <a:lnTo>
                  <a:pt x="351797" y="1088631"/>
                </a:lnTo>
                <a:lnTo>
                  <a:pt x="351701" y="1137285"/>
                </a:lnTo>
                <a:lnTo>
                  <a:pt x="355309" y="1189673"/>
                </a:lnTo>
                <a:lnTo>
                  <a:pt x="362084" y="1241774"/>
                </a:lnTo>
                <a:lnTo>
                  <a:pt x="370661" y="1293729"/>
                </a:lnTo>
                <a:lnTo>
                  <a:pt x="379673" y="1345678"/>
                </a:lnTo>
                <a:lnTo>
                  <a:pt x="387756" y="1397762"/>
                </a:lnTo>
                <a:lnTo>
                  <a:pt x="393521" y="1445178"/>
                </a:lnTo>
                <a:lnTo>
                  <a:pt x="397626" y="1492747"/>
                </a:lnTo>
                <a:lnTo>
                  <a:pt x="399786" y="1540408"/>
                </a:lnTo>
                <a:lnTo>
                  <a:pt x="399715" y="1588099"/>
                </a:lnTo>
                <a:lnTo>
                  <a:pt x="397129" y="1635760"/>
                </a:lnTo>
                <a:lnTo>
                  <a:pt x="391078" y="1687717"/>
                </a:lnTo>
                <a:lnTo>
                  <a:pt x="381814" y="1739150"/>
                </a:lnTo>
                <a:lnTo>
                  <a:pt x="369565" y="1789991"/>
                </a:lnTo>
                <a:lnTo>
                  <a:pt x="354561" y="1840175"/>
                </a:lnTo>
                <a:lnTo>
                  <a:pt x="337032" y="1889633"/>
                </a:lnTo>
                <a:lnTo>
                  <a:pt x="318598" y="1935494"/>
                </a:lnTo>
                <a:lnTo>
                  <a:pt x="298374" y="1980593"/>
                </a:lnTo>
                <a:lnTo>
                  <a:pt x="276155" y="2024697"/>
                </a:lnTo>
                <a:lnTo>
                  <a:pt x="251734" y="2067574"/>
                </a:lnTo>
                <a:lnTo>
                  <a:pt x="224906" y="2108990"/>
                </a:lnTo>
                <a:lnTo>
                  <a:pt x="195465" y="2148713"/>
                </a:lnTo>
                <a:lnTo>
                  <a:pt x="164380" y="2184406"/>
                </a:lnTo>
                <a:lnTo>
                  <a:pt x="123459" y="2226902"/>
                </a:lnTo>
                <a:lnTo>
                  <a:pt x="78535" y="2270995"/>
                </a:lnTo>
                <a:lnTo>
                  <a:pt x="35438" y="2311480"/>
                </a:lnTo>
                <a:lnTo>
                  <a:pt x="0" y="2343150"/>
                </a:lnTo>
              </a:path>
              <a:path w="12116435" h="6819900">
                <a:moveTo>
                  <a:pt x="9525" y="866775"/>
                </a:moveTo>
                <a:lnTo>
                  <a:pt x="74015" y="875188"/>
                </a:lnTo>
                <a:lnTo>
                  <a:pt x="126809" y="906652"/>
                </a:lnTo>
                <a:lnTo>
                  <a:pt x="148458" y="956945"/>
                </a:lnTo>
                <a:lnTo>
                  <a:pt x="154343" y="1013333"/>
                </a:lnTo>
                <a:lnTo>
                  <a:pt x="157497" y="1051278"/>
                </a:lnTo>
                <a:lnTo>
                  <a:pt x="168112" y="1126597"/>
                </a:lnTo>
                <a:lnTo>
                  <a:pt x="188632" y="1209569"/>
                </a:lnTo>
                <a:lnTo>
                  <a:pt x="203486" y="1254707"/>
                </a:lnTo>
                <a:lnTo>
                  <a:pt x="219100" y="1299643"/>
                </a:lnTo>
                <a:lnTo>
                  <a:pt x="234015" y="1344781"/>
                </a:lnTo>
                <a:lnTo>
                  <a:pt x="246773" y="1390523"/>
                </a:lnTo>
                <a:lnTo>
                  <a:pt x="257032" y="1440703"/>
                </a:lnTo>
                <a:lnTo>
                  <a:pt x="264452" y="1491361"/>
                </a:lnTo>
                <a:lnTo>
                  <a:pt x="270644" y="1546004"/>
                </a:lnTo>
                <a:lnTo>
                  <a:pt x="274785" y="1600755"/>
                </a:lnTo>
                <a:lnTo>
                  <a:pt x="276223" y="1655577"/>
                </a:lnTo>
                <a:lnTo>
                  <a:pt x="274307" y="1710436"/>
                </a:lnTo>
                <a:lnTo>
                  <a:pt x="268584" y="1764015"/>
                </a:lnTo>
                <a:lnTo>
                  <a:pt x="258736" y="1816900"/>
                </a:lnTo>
                <a:lnTo>
                  <a:pt x="244476" y="1868700"/>
                </a:lnTo>
                <a:lnTo>
                  <a:pt x="225518" y="1919024"/>
                </a:lnTo>
                <a:lnTo>
                  <a:pt x="201574" y="1967484"/>
                </a:lnTo>
                <a:lnTo>
                  <a:pt x="160499" y="2030491"/>
                </a:lnTo>
                <a:lnTo>
                  <a:pt x="113118" y="2089403"/>
                </a:lnTo>
                <a:lnTo>
                  <a:pt x="84833" y="2124265"/>
                </a:lnTo>
                <a:lnTo>
                  <a:pt x="66009" y="2148840"/>
                </a:lnTo>
                <a:lnTo>
                  <a:pt x="45168" y="2171414"/>
                </a:lnTo>
                <a:lnTo>
                  <a:pt x="10830" y="2200275"/>
                </a:lnTo>
              </a:path>
              <a:path w="12116435" h="6819900">
                <a:moveTo>
                  <a:pt x="8601138" y="6819836"/>
                </a:moveTo>
                <a:lnTo>
                  <a:pt x="8633317" y="6773346"/>
                </a:lnTo>
                <a:lnTo>
                  <a:pt x="8671877" y="6731896"/>
                </a:lnTo>
                <a:lnTo>
                  <a:pt x="8708547" y="6696736"/>
                </a:lnTo>
                <a:lnTo>
                  <a:pt x="8742480" y="6658936"/>
                </a:lnTo>
                <a:lnTo>
                  <a:pt x="8774430" y="6619228"/>
                </a:lnTo>
                <a:lnTo>
                  <a:pt x="8805152" y="6578343"/>
                </a:lnTo>
                <a:lnTo>
                  <a:pt x="8835401" y="6537014"/>
                </a:lnTo>
                <a:lnTo>
                  <a:pt x="8865933" y="6495973"/>
                </a:lnTo>
                <a:lnTo>
                  <a:pt x="8899209" y="6452945"/>
                </a:lnTo>
                <a:lnTo>
                  <a:pt x="8933449" y="6410658"/>
                </a:lnTo>
                <a:lnTo>
                  <a:pt x="8968857" y="6369375"/>
                </a:lnTo>
                <a:lnTo>
                  <a:pt x="9005633" y="6329362"/>
                </a:lnTo>
                <a:lnTo>
                  <a:pt x="9041100" y="6293750"/>
                </a:lnTo>
                <a:lnTo>
                  <a:pt x="9077912" y="6259620"/>
                </a:lnTo>
                <a:lnTo>
                  <a:pt x="9115986" y="6226956"/>
                </a:lnTo>
                <a:lnTo>
                  <a:pt x="9155239" y="6195745"/>
                </a:lnTo>
                <a:lnTo>
                  <a:pt x="9199102" y="6163522"/>
                </a:lnTo>
                <a:lnTo>
                  <a:pt x="9243890" y="6132649"/>
                </a:lnTo>
                <a:lnTo>
                  <a:pt x="9289319" y="6102707"/>
                </a:lnTo>
                <a:lnTo>
                  <a:pt x="9335109" y="6073273"/>
                </a:lnTo>
                <a:lnTo>
                  <a:pt x="9380976" y="6043928"/>
                </a:lnTo>
                <a:lnTo>
                  <a:pt x="9426638" y="6014250"/>
                </a:lnTo>
                <a:lnTo>
                  <a:pt x="9471464" y="5984237"/>
                </a:lnTo>
                <a:lnTo>
                  <a:pt x="9515955" y="5953709"/>
                </a:lnTo>
                <a:lnTo>
                  <a:pt x="9560232" y="5922846"/>
                </a:lnTo>
                <a:lnTo>
                  <a:pt x="9604418" y="5891828"/>
                </a:lnTo>
                <a:lnTo>
                  <a:pt x="9648634" y="5860834"/>
                </a:lnTo>
                <a:lnTo>
                  <a:pt x="9686226" y="5834718"/>
                </a:lnTo>
                <a:lnTo>
                  <a:pt x="9724184" y="5809152"/>
                </a:lnTo>
                <a:lnTo>
                  <a:pt x="9762751" y="5784601"/>
                </a:lnTo>
                <a:lnTo>
                  <a:pt x="9802172" y="5761529"/>
                </a:lnTo>
                <a:lnTo>
                  <a:pt x="9842690" y="5740400"/>
                </a:lnTo>
                <a:lnTo>
                  <a:pt x="9886894" y="5720622"/>
                </a:lnTo>
                <a:lnTo>
                  <a:pt x="9932384" y="5704573"/>
                </a:lnTo>
                <a:lnTo>
                  <a:pt x="9979064" y="5693658"/>
                </a:lnTo>
                <a:lnTo>
                  <a:pt x="10026840" y="5689282"/>
                </a:lnTo>
                <a:lnTo>
                  <a:pt x="10061646" y="5690537"/>
                </a:lnTo>
                <a:lnTo>
                  <a:pt x="10096214" y="5694643"/>
                </a:lnTo>
                <a:lnTo>
                  <a:pt x="10130639" y="5700599"/>
                </a:lnTo>
                <a:lnTo>
                  <a:pt x="10165016" y="5707405"/>
                </a:lnTo>
                <a:lnTo>
                  <a:pt x="10194494" y="5713115"/>
                </a:lnTo>
                <a:lnTo>
                  <a:pt x="10253688" y="5723078"/>
                </a:lnTo>
                <a:lnTo>
                  <a:pt x="10309796" y="5730040"/>
                </a:lnTo>
                <a:lnTo>
                  <a:pt x="10336212" y="5731365"/>
                </a:lnTo>
                <a:lnTo>
                  <a:pt x="10362533" y="5730616"/>
                </a:lnTo>
                <a:lnTo>
                  <a:pt x="10431527" y="5714542"/>
                </a:lnTo>
                <a:lnTo>
                  <a:pt x="10471737" y="5694762"/>
                </a:lnTo>
                <a:lnTo>
                  <a:pt x="10509875" y="5670181"/>
                </a:lnTo>
                <a:lnTo>
                  <a:pt x="10546524" y="5643105"/>
                </a:lnTo>
                <a:lnTo>
                  <a:pt x="10587075" y="5611328"/>
                </a:lnTo>
                <a:lnTo>
                  <a:pt x="10627756" y="5579745"/>
                </a:lnTo>
                <a:lnTo>
                  <a:pt x="10669700" y="5550190"/>
                </a:lnTo>
                <a:lnTo>
                  <a:pt x="10714037" y="5524500"/>
                </a:lnTo>
                <a:lnTo>
                  <a:pt x="10758382" y="5504926"/>
                </a:lnTo>
                <a:lnTo>
                  <a:pt x="10820308" y="5481720"/>
                </a:lnTo>
                <a:lnTo>
                  <a:pt x="10867263" y="5464746"/>
                </a:lnTo>
                <a:lnTo>
                  <a:pt x="10914312" y="5448057"/>
                </a:lnTo>
                <a:lnTo>
                  <a:pt x="10961433" y="5431536"/>
                </a:lnTo>
                <a:lnTo>
                  <a:pt x="10991701" y="5420794"/>
                </a:lnTo>
                <a:lnTo>
                  <a:pt x="11051712" y="5397978"/>
                </a:lnTo>
                <a:lnTo>
                  <a:pt x="11107223" y="5372840"/>
                </a:lnTo>
                <a:lnTo>
                  <a:pt x="11157329" y="5344285"/>
                </a:lnTo>
                <a:lnTo>
                  <a:pt x="11205333" y="5309377"/>
                </a:lnTo>
                <a:lnTo>
                  <a:pt x="11250187" y="5267880"/>
                </a:lnTo>
                <a:lnTo>
                  <a:pt x="11285795" y="5227097"/>
                </a:lnTo>
                <a:lnTo>
                  <a:pt x="11313918" y="5189220"/>
                </a:lnTo>
                <a:lnTo>
                  <a:pt x="11347102" y="5139005"/>
                </a:lnTo>
                <a:lnTo>
                  <a:pt x="11366833" y="5108241"/>
                </a:lnTo>
                <a:lnTo>
                  <a:pt x="11386968" y="5077739"/>
                </a:lnTo>
                <a:lnTo>
                  <a:pt x="11432952" y="5016055"/>
                </a:lnTo>
                <a:lnTo>
                  <a:pt x="11459432" y="4985575"/>
                </a:lnTo>
                <a:lnTo>
                  <a:pt x="11487388" y="4956429"/>
                </a:lnTo>
                <a:lnTo>
                  <a:pt x="11516677" y="4928616"/>
                </a:lnTo>
                <a:lnTo>
                  <a:pt x="11567906" y="4884134"/>
                </a:lnTo>
                <a:lnTo>
                  <a:pt x="11593454" y="4861821"/>
                </a:lnTo>
                <a:lnTo>
                  <a:pt x="11637047" y="4819399"/>
                </a:lnTo>
                <a:lnTo>
                  <a:pt x="11671873" y="4778371"/>
                </a:lnTo>
                <a:lnTo>
                  <a:pt x="11706346" y="4729664"/>
                </a:lnTo>
                <a:lnTo>
                  <a:pt x="11738560" y="4672756"/>
                </a:lnTo>
                <a:lnTo>
                  <a:pt x="11767048" y="4604968"/>
                </a:lnTo>
                <a:lnTo>
                  <a:pt x="11779297" y="4566062"/>
                </a:lnTo>
                <a:lnTo>
                  <a:pt x="11789142" y="4526442"/>
                </a:lnTo>
                <a:lnTo>
                  <a:pt x="11796712" y="4486275"/>
                </a:lnTo>
                <a:lnTo>
                  <a:pt x="11803266" y="4430803"/>
                </a:lnTo>
                <a:lnTo>
                  <a:pt x="11804586" y="4412234"/>
                </a:lnTo>
                <a:lnTo>
                  <a:pt x="11811385" y="4366216"/>
                </a:lnTo>
                <a:lnTo>
                  <a:pt x="11824596" y="4320178"/>
                </a:lnTo>
                <a:lnTo>
                  <a:pt x="11842010" y="4274122"/>
                </a:lnTo>
                <a:lnTo>
                  <a:pt x="11861418" y="4228052"/>
                </a:lnTo>
                <a:lnTo>
                  <a:pt x="11880612" y="4181969"/>
                </a:lnTo>
                <a:lnTo>
                  <a:pt x="11897383" y="4135878"/>
                </a:lnTo>
                <a:lnTo>
                  <a:pt x="11909523" y="4089780"/>
                </a:lnTo>
                <a:lnTo>
                  <a:pt x="11914822" y="4043679"/>
                </a:lnTo>
                <a:lnTo>
                  <a:pt x="11916952" y="3990283"/>
                </a:lnTo>
                <a:lnTo>
                  <a:pt x="11920461" y="3936982"/>
                </a:lnTo>
                <a:lnTo>
                  <a:pt x="11925112" y="3883763"/>
                </a:lnTo>
                <a:lnTo>
                  <a:pt x="11930668" y="3830613"/>
                </a:lnTo>
                <a:lnTo>
                  <a:pt x="11936890" y="3777518"/>
                </a:lnTo>
                <a:lnTo>
                  <a:pt x="11943540" y="3724466"/>
                </a:lnTo>
                <a:lnTo>
                  <a:pt x="11950382" y="3671443"/>
                </a:lnTo>
                <a:lnTo>
                  <a:pt x="11959251" y="3633404"/>
                </a:lnTo>
                <a:lnTo>
                  <a:pt x="11975466" y="3589422"/>
                </a:lnTo>
                <a:lnTo>
                  <a:pt x="11996897" y="3541192"/>
                </a:lnTo>
                <a:lnTo>
                  <a:pt x="12021417" y="3490410"/>
                </a:lnTo>
                <a:lnTo>
                  <a:pt x="12046898" y="3438770"/>
                </a:lnTo>
                <a:lnTo>
                  <a:pt x="12071211" y="3387969"/>
                </a:lnTo>
                <a:lnTo>
                  <a:pt x="12092228" y="3339702"/>
                </a:lnTo>
                <a:lnTo>
                  <a:pt x="12107822" y="3295663"/>
                </a:lnTo>
                <a:lnTo>
                  <a:pt x="12115863" y="3257550"/>
                </a:lnTo>
              </a:path>
            </a:pathLst>
          </a:custGeom>
          <a:ln w="9525">
            <a:solidFill>
              <a:srgbClr val="78B146"/>
            </a:solidFill>
            <a:prstDash val="sys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bg object 21"/>
          <p:cNvSpPr/>
          <p:nvPr/>
        </p:nvSpPr>
        <p:spPr>
          <a:xfrm>
            <a:off x="8865399" y="4186301"/>
            <a:ext cx="3265170" cy="2672080"/>
          </a:xfrm>
          <a:custGeom>
            <a:avLst/>
            <a:gdLst/>
            <a:ahLst/>
            <a:cxnLst/>
            <a:rect l="l" t="t" r="r" b="b"/>
            <a:pathLst>
              <a:path w="3265170" h="2672079">
                <a:moveTo>
                  <a:pt x="0" y="2671697"/>
                </a:moveTo>
                <a:lnTo>
                  <a:pt x="45190" y="2582984"/>
                </a:lnTo>
                <a:lnTo>
                  <a:pt x="92777" y="2499230"/>
                </a:lnTo>
                <a:lnTo>
                  <a:pt x="145758" y="2420213"/>
                </a:lnTo>
                <a:lnTo>
                  <a:pt x="178708" y="2376386"/>
                </a:lnTo>
                <a:lnTo>
                  <a:pt x="211318" y="2332307"/>
                </a:lnTo>
                <a:lnTo>
                  <a:pt x="244247" y="2288547"/>
                </a:lnTo>
                <a:lnTo>
                  <a:pt x="278149" y="2245677"/>
                </a:lnTo>
                <a:lnTo>
                  <a:pt x="313680" y="2204269"/>
                </a:lnTo>
                <a:lnTo>
                  <a:pt x="351498" y="2164892"/>
                </a:lnTo>
                <a:lnTo>
                  <a:pt x="388995" y="2130498"/>
                </a:lnTo>
                <a:lnTo>
                  <a:pt x="428143" y="2098026"/>
                </a:lnTo>
                <a:lnTo>
                  <a:pt x="468432" y="2066877"/>
                </a:lnTo>
                <a:lnTo>
                  <a:pt x="509348" y="2036453"/>
                </a:lnTo>
                <a:lnTo>
                  <a:pt x="550380" y="2006155"/>
                </a:lnTo>
                <a:lnTo>
                  <a:pt x="595769" y="1972139"/>
                </a:lnTo>
                <a:lnTo>
                  <a:pt x="640979" y="1937875"/>
                </a:lnTo>
                <a:lnTo>
                  <a:pt x="686165" y="1903594"/>
                </a:lnTo>
                <a:lnTo>
                  <a:pt x="731482" y="1869528"/>
                </a:lnTo>
                <a:lnTo>
                  <a:pt x="769604" y="1841259"/>
                </a:lnTo>
                <a:lnTo>
                  <a:pt x="808030" y="1813393"/>
                </a:lnTo>
                <a:lnTo>
                  <a:pt x="846957" y="1786310"/>
                </a:lnTo>
                <a:lnTo>
                  <a:pt x="886582" y="1760386"/>
                </a:lnTo>
                <a:lnTo>
                  <a:pt x="927103" y="1735997"/>
                </a:lnTo>
                <a:lnTo>
                  <a:pt x="968718" y="1713522"/>
                </a:lnTo>
                <a:lnTo>
                  <a:pt x="1005598" y="1696502"/>
                </a:lnTo>
                <a:lnTo>
                  <a:pt x="1068199" y="1673903"/>
                </a:lnTo>
                <a:lnTo>
                  <a:pt x="1119372" y="1660598"/>
                </a:lnTo>
                <a:lnTo>
                  <a:pt x="1171355" y="1652688"/>
                </a:lnTo>
                <a:lnTo>
                  <a:pt x="1223861" y="1651368"/>
                </a:lnTo>
                <a:lnTo>
                  <a:pt x="1248729" y="1653239"/>
                </a:lnTo>
                <a:lnTo>
                  <a:pt x="1273455" y="1656426"/>
                </a:lnTo>
                <a:lnTo>
                  <a:pt x="1298085" y="1660540"/>
                </a:lnTo>
                <a:lnTo>
                  <a:pt x="1322667" y="1665198"/>
                </a:lnTo>
                <a:lnTo>
                  <a:pt x="1340786" y="1668610"/>
                </a:lnTo>
                <a:lnTo>
                  <a:pt x="1395311" y="1677581"/>
                </a:lnTo>
                <a:lnTo>
                  <a:pt x="1449427" y="1684103"/>
                </a:lnTo>
                <a:lnTo>
                  <a:pt x="1503721" y="1687029"/>
                </a:lnTo>
                <a:lnTo>
                  <a:pt x="1557849" y="1685232"/>
                </a:lnTo>
                <a:lnTo>
                  <a:pt x="1611465" y="1677581"/>
                </a:lnTo>
                <a:lnTo>
                  <a:pt x="1655723" y="1665932"/>
                </a:lnTo>
                <a:lnTo>
                  <a:pt x="1698444" y="1649703"/>
                </a:lnTo>
                <a:lnTo>
                  <a:pt x="1739428" y="1629308"/>
                </a:lnTo>
                <a:lnTo>
                  <a:pt x="1778470" y="1605165"/>
                </a:lnTo>
                <a:lnTo>
                  <a:pt x="1829318" y="1567116"/>
                </a:lnTo>
                <a:lnTo>
                  <a:pt x="1878165" y="1526438"/>
                </a:lnTo>
                <a:lnTo>
                  <a:pt x="1914007" y="1496744"/>
                </a:lnTo>
                <a:lnTo>
                  <a:pt x="1950531" y="1467928"/>
                </a:lnTo>
                <a:lnTo>
                  <a:pt x="1987994" y="1440482"/>
                </a:lnTo>
                <a:lnTo>
                  <a:pt x="2026651" y="1414898"/>
                </a:lnTo>
                <a:lnTo>
                  <a:pt x="2066760" y="1391666"/>
                </a:lnTo>
                <a:lnTo>
                  <a:pt x="2107883" y="1371363"/>
                </a:lnTo>
                <a:lnTo>
                  <a:pt x="2150042" y="1353267"/>
                </a:lnTo>
                <a:lnTo>
                  <a:pt x="2192810" y="1336445"/>
                </a:lnTo>
                <a:lnTo>
                  <a:pt x="2235762" y="1319964"/>
                </a:lnTo>
                <a:lnTo>
                  <a:pt x="2278469" y="1302893"/>
                </a:lnTo>
                <a:lnTo>
                  <a:pt x="2346938" y="1271571"/>
                </a:lnTo>
                <a:lnTo>
                  <a:pt x="2412835" y="1235202"/>
                </a:lnTo>
                <a:lnTo>
                  <a:pt x="2455144" y="1207730"/>
                </a:lnTo>
                <a:lnTo>
                  <a:pt x="2495560" y="1177639"/>
                </a:lnTo>
                <a:lnTo>
                  <a:pt x="2533761" y="1144833"/>
                </a:lnTo>
                <a:lnTo>
                  <a:pt x="2569426" y="1109218"/>
                </a:lnTo>
                <a:lnTo>
                  <a:pt x="2600398" y="1073489"/>
                </a:lnTo>
                <a:lnTo>
                  <a:pt x="2629656" y="1036272"/>
                </a:lnTo>
                <a:lnTo>
                  <a:pt x="2658294" y="998507"/>
                </a:lnTo>
                <a:lnTo>
                  <a:pt x="2687409" y="961136"/>
                </a:lnTo>
                <a:lnTo>
                  <a:pt x="2716121" y="926687"/>
                </a:lnTo>
                <a:lnTo>
                  <a:pt x="2745750" y="893000"/>
                </a:lnTo>
                <a:lnTo>
                  <a:pt x="2775831" y="859694"/>
                </a:lnTo>
                <a:lnTo>
                  <a:pt x="2805900" y="826388"/>
                </a:lnTo>
                <a:lnTo>
                  <a:pt x="2852779" y="772779"/>
                </a:lnTo>
                <a:lnTo>
                  <a:pt x="2898991" y="718693"/>
                </a:lnTo>
                <a:lnTo>
                  <a:pt x="2938186" y="671734"/>
                </a:lnTo>
                <a:lnTo>
                  <a:pt x="2974048" y="622300"/>
                </a:lnTo>
                <a:lnTo>
                  <a:pt x="3008640" y="558022"/>
                </a:lnTo>
                <a:lnTo>
                  <a:pt x="3036278" y="490219"/>
                </a:lnTo>
                <a:lnTo>
                  <a:pt x="3051691" y="446424"/>
                </a:lnTo>
                <a:lnTo>
                  <a:pt x="3065282" y="402082"/>
                </a:lnTo>
                <a:lnTo>
                  <a:pt x="3076658" y="357167"/>
                </a:lnTo>
                <a:lnTo>
                  <a:pt x="3085427" y="311657"/>
                </a:lnTo>
                <a:lnTo>
                  <a:pt x="3098540" y="276665"/>
                </a:lnTo>
                <a:lnTo>
                  <a:pt x="3125044" y="232221"/>
                </a:lnTo>
                <a:lnTo>
                  <a:pt x="3159406" y="182089"/>
                </a:lnTo>
                <a:lnTo>
                  <a:pt x="3196091" y="130035"/>
                </a:lnTo>
                <a:lnTo>
                  <a:pt x="3229567" y="79825"/>
                </a:lnTo>
                <a:lnTo>
                  <a:pt x="3254298" y="35225"/>
                </a:lnTo>
                <a:lnTo>
                  <a:pt x="3264751" y="0"/>
                </a:lnTo>
              </a:path>
            </a:pathLst>
          </a:custGeom>
          <a:ln w="9525">
            <a:solidFill>
              <a:srgbClr val="78B146"/>
            </a:solidFill>
            <a:prstDash val="sys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bg object 22"/>
          <p:cNvSpPr/>
          <p:nvPr/>
        </p:nvSpPr>
        <p:spPr>
          <a:xfrm>
            <a:off x="11549563" y="6519862"/>
            <a:ext cx="600075" cy="338455"/>
          </a:xfrm>
          <a:custGeom>
            <a:avLst/>
            <a:gdLst/>
            <a:ahLst/>
            <a:cxnLst/>
            <a:rect l="l" t="t" r="r" b="b"/>
            <a:pathLst>
              <a:path w="600075" h="338454">
                <a:moveTo>
                  <a:pt x="349555" y="338135"/>
                </a:moveTo>
                <a:lnTo>
                  <a:pt x="377091" y="319639"/>
                </a:lnTo>
                <a:lnTo>
                  <a:pt x="456238" y="265790"/>
                </a:lnTo>
                <a:lnTo>
                  <a:pt x="542790" y="205252"/>
                </a:lnTo>
                <a:lnTo>
                  <a:pt x="599637" y="161925"/>
                </a:lnTo>
              </a:path>
              <a:path w="600075" h="338454">
                <a:moveTo>
                  <a:pt x="0" y="338135"/>
                </a:moveTo>
                <a:lnTo>
                  <a:pt x="56551" y="311094"/>
                </a:lnTo>
                <a:lnTo>
                  <a:pt x="215827" y="229509"/>
                </a:lnTo>
                <a:lnTo>
                  <a:pt x="407464" y="118895"/>
                </a:lnTo>
                <a:lnTo>
                  <a:pt x="571062" y="0"/>
                </a:lnTo>
              </a:path>
            </a:pathLst>
          </a:custGeom>
          <a:ln w="9525">
            <a:solidFill>
              <a:srgbClr val="78B146"/>
            </a:solidFill>
            <a:prstDash val="sys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bg object 23"/>
          <p:cNvSpPr/>
          <p:nvPr/>
        </p:nvSpPr>
        <p:spPr>
          <a:xfrm>
            <a:off x="9539350" y="5462651"/>
            <a:ext cx="2590800" cy="1381125"/>
          </a:xfrm>
          <a:custGeom>
            <a:avLst/>
            <a:gdLst/>
            <a:ahLst/>
            <a:cxnLst/>
            <a:rect l="l" t="t" r="r" b="b"/>
            <a:pathLst>
              <a:path w="2590800" h="1381125">
                <a:moveTo>
                  <a:pt x="0" y="1381061"/>
                </a:moveTo>
                <a:lnTo>
                  <a:pt x="55165" y="1325792"/>
                </a:lnTo>
                <a:lnTo>
                  <a:pt x="112567" y="1270549"/>
                </a:lnTo>
                <a:lnTo>
                  <a:pt x="179577" y="1209205"/>
                </a:lnTo>
                <a:lnTo>
                  <a:pt x="217160" y="1176874"/>
                </a:lnTo>
                <a:lnTo>
                  <a:pt x="255511" y="1146099"/>
                </a:lnTo>
                <a:lnTo>
                  <a:pt x="294819" y="1117499"/>
                </a:lnTo>
                <a:lnTo>
                  <a:pt x="335273" y="1091689"/>
                </a:lnTo>
                <a:lnTo>
                  <a:pt x="377063" y="1069289"/>
                </a:lnTo>
                <a:lnTo>
                  <a:pt x="421236" y="1050336"/>
                </a:lnTo>
                <a:lnTo>
                  <a:pt x="466222" y="1035026"/>
                </a:lnTo>
                <a:lnTo>
                  <a:pt x="511840" y="1022510"/>
                </a:lnTo>
                <a:lnTo>
                  <a:pt x="557906" y="1011936"/>
                </a:lnTo>
                <a:lnTo>
                  <a:pt x="604239" y="1002453"/>
                </a:lnTo>
                <a:lnTo>
                  <a:pt x="650656" y="993212"/>
                </a:lnTo>
                <a:lnTo>
                  <a:pt x="696976" y="983361"/>
                </a:lnTo>
                <a:lnTo>
                  <a:pt x="745050" y="971816"/>
                </a:lnTo>
                <a:lnTo>
                  <a:pt x="793044" y="959723"/>
                </a:lnTo>
                <a:lnTo>
                  <a:pt x="841094" y="948250"/>
                </a:lnTo>
                <a:lnTo>
                  <a:pt x="889333" y="938565"/>
                </a:lnTo>
                <a:lnTo>
                  <a:pt x="937895" y="931837"/>
                </a:lnTo>
                <a:lnTo>
                  <a:pt x="984170" y="928789"/>
                </a:lnTo>
                <a:lnTo>
                  <a:pt x="1030458" y="928763"/>
                </a:lnTo>
                <a:lnTo>
                  <a:pt x="1076710" y="931487"/>
                </a:lnTo>
                <a:lnTo>
                  <a:pt x="1122876" y="936691"/>
                </a:lnTo>
                <a:lnTo>
                  <a:pt x="1168907" y="944105"/>
                </a:lnTo>
                <a:lnTo>
                  <a:pt x="1207337" y="951408"/>
                </a:lnTo>
                <a:lnTo>
                  <a:pt x="1245743" y="958538"/>
                </a:lnTo>
                <a:lnTo>
                  <a:pt x="1284243" y="964582"/>
                </a:lnTo>
                <a:lnTo>
                  <a:pt x="1322958" y="968629"/>
                </a:lnTo>
                <a:lnTo>
                  <a:pt x="1368917" y="969500"/>
                </a:lnTo>
                <a:lnTo>
                  <a:pt x="1414652" y="965839"/>
                </a:lnTo>
                <a:lnTo>
                  <a:pt x="1460071" y="958084"/>
                </a:lnTo>
                <a:lnTo>
                  <a:pt x="1505077" y="946674"/>
                </a:lnTo>
                <a:lnTo>
                  <a:pt x="1549574" y="932047"/>
                </a:lnTo>
                <a:lnTo>
                  <a:pt x="1593469" y="914641"/>
                </a:lnTo>
                <a:lnTo>
                  <a:pt x="1638035" y="894015"/>
                </a:lnTo>
                <a:lnTo>
                  <a:pt x="1681777" y="870982"/>
                </a:lnTo>
                <a:lnTo>
                  <a:pt x="1724861" y="846014"/>
                </a:lnTo>
                <a:lnTo>
                  <a:pt x="1767452" y="819585"/>
                </a:lnTo>
                <a:lnTo>
                  <a:pt x="1809718" y="792168"/>
                </a:lnTo>
                <a:lnTo>
                  <a:pt x="1851823" y="764238"/>
                </a:lnTo>
                <a:lnTo>
                  <a:pt x="1893934" y="736269"/>
                </a:lnTo>
                <a:lnTo>
                  <a:pt x="1936218" y="708733"/>
                </a:lnTo>
                <a:lnTo>
                  <a:pt x="1978840" y="682104"/>
                </a:lnTo>
                <a:lnTo>
                  <a:pt x="2021967" y="656856"/>
                </a:lnTo>
                <a:lnTo>
                  <a:pt x="2070472" y="630251"/>
                </a:lnTo>
                <a:lnTo>
                  <a:pt x="2118990" y="603800"/>
                </a:lnTo>
                <a:lnTo>
                  <a:pt x="2166954" y="576166"/>
                </a:lnTo>
                <a:lnTo>
                  <a:pt x="2213795" y="546011"/>
                </a:lnTo>
                <a:lnTo>
                  <a:pt x="2258949" y="512000"/>
                </a:lnTo>
                <a:lnTo>
                  <a:pt x="2290275" y="483907"/>
                </a:lnTo>
                <a:lnTo>
                  <a:pt x="2322477" y="450771"/>
                </a:lnTo>
                <a:lnTo>
                  <a:pt x="2355091" y="413312"/>
                </a:lnTo>
                <a:lnTo>
                  <a:pt x="2387656" y="372246"/>
                </a:lnTo>
                <a:lnTo>
                  <a:pt x="2419707" y="328291"/>
                </a:lnTo>
                <a:lnTo>
                  <a:pt x="2450782" y="282165"/>
                </a:lnTo>
                <a:lnTo>
                  <a:pt x="2480418" y="234585"/>
                </a:lnTo>
                <a:lnTo>
                  <a:pt x="2508151" y="186269"/>
                </a:lnTo>
                <a:lnTo>
                  <a:pt x="2533519" y="137935"/>
                </a:lnTo>
                <a:lnTo>
                  <a:pt x="2556058" y="90301"/>
                </a:lnTo>
                <a:lnTo>
                  <a:pt x="2575306" y="44083"/>
                </a:lnTo>
                <a:lnTo>
                  <a:pt x="2590800" y="0"/>
                </a:lnTo>
              </a:path>
            </a:pathLst>
          </a:custGeom>
          <a:ln w="9525">
            <a:solidFill>
              <a:srgbClr val="78B146"/>
            </a:solidFill>
            <a:prstDash val="sys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bg object 24"/>
          <p:cNvSpPr/>
          <p:nvPr/>
        </p:nvSpPr>
        <p:spPr>
          <a:xfrm>
            <a:off x="9141906" y="4672076"/>
            <a:ext cx="3007360" cy="2186305"/>
          </a:xfrm>
          <a:custGeom>
            <a:avLst/>
            <a:gdLst/>
            <a:ahLst/>
            <a:cxnLst/>
            <a:rect l="l" t="t" r="r" b="b"/>
            <a:pathLst>
              <a:path w="3007359" h="2186304">
                <a:moveTo>
                  <a:pt x="181285" y="2185922"/>
                </a:moveTo>
                <a:lnTo>
                  <a:pt x="231408" y="2108838"/>
                </a:lnTo>
                <a:lnTo>
                  <a:pt x="288794" y="2031977"/>
                </a:lnTo>
                <a:lnTo>
                  <a:pt x="358836" y="1953780"/>
                </a:lnTo>
                <a:lnTo>
                  <a:pt x="397804" y="1917002"/>
                </a:lnTo>
                <a:lnTo>
                  <a:pt x="438390" y="1882095"/>
                </a:lnTo>
                <a:lnTo>
                  <a:pt x="480577" y="1849250"/>
                </a:lnTo>
                <a:lnTo>
                  <a:pt x="524351" y="1818662"/>
                </a:lnTo>
                <a:lnTo>
                  <a:pt x="569695" y="1790525"/>
                </a:lnTo>
                <a:lnTo>
                  <a:pt x="616594" y="1765032"/>
                </a:lnTo>
                <a:lnTo>
                  <a:pt x="665033" y="1742376"/>
                </a:lnTo>
                <a:lnTo>
                  <a:pt x="709462" y="1724798"/>
                </a:lnTo>
                <a:lnTo>
                  <a:pt x="754697" y="1709692"/>
                </a:lnTo>
                <a:lnTo>
                  <a:pt x="800597" y="1696647"/>
                </a:lnTo>
                <a:lnTo>
                  <a:pt x="847019" y="1685250"/>
                </a:lnTo>
                <a:lnTo>
                  <a:pt x="893820" y="1675089"/>
                </a:lnTo>
                <a:lnTo>
                  <a:pt x="940859" y="1665753"/>
                </a:lnTo>
                <a:lnTo>
                  <a:pt x="987994" y="1656829"/>
                </a:lnTo>
                <a:lnTo>
                  <a:pt x="1035294" y="1648001"/>
                </a:lnTo>
                <a:lnTo>
                  <a:pt x="1082619" y="1639305"/>
                </a:lnTo>
                <a:lnTo>
                  <a:pt x="1129983" y="1630834"/>
                </a:lnTo>
                <a:lnTo>
                  <a:pt x="1177399" y="1622680"/>
                </a:lnTo>
                <a:lnTo>
                  <a:pt x="1224880" y="1614937"/>
                </a:lnTo>
                <a:lnTo>
                  <a:pt x="1272440" y="1607696"/>
                </a:lnTo>
                <a:lnTo>
                  <a:pt x="1320093" y="1601051"/>
                </a:lnTo>
                <a:lnTo>
                  <a:pt x="1367851" y="1595094"/>
                </a:lnTo>
                <a:lnTo>
                  <a:pt x="1421458" y="1589363"/>
                </a:lnTo>
                <a:lnTo>
                  <a:pt x="1475143" y="1584189"/>
                </a:lnTo>
                <a:lnTo>
                  <a:pt x="1528792" y="1578852"/>
                </a:lnTo>
                <a:lnTo>
                  <a:pt x="1582293" y="1572637"/>
                </a:lnTo>
                <a:lnTo>
                  <a:pt x="1635533" y="1564824"/>
                </a:lnTo>
                <a:lnTo>
                  <a:pt x="1688399" y="1554695"/>
                </a:lnTo>
                <a:lnTo>
                  <a:pt x="1736682" y="1542980"/>
                </a:lnTo>
                <a:lnTo>
                  <a:pt x="1784463" y="1529429"/>
                </a:lnTo>
                <a:lnTo>
                  <a:pt x="1831877" y="1514541"/>
                </a:lnTo>
                <a:lnTo>
                  <a:pt x="1879059" y="1498817"/>
                </a:lnTo>
                <a:lnTo>
                  <a:pt x="1926142" y="1482758"/>
                </a:lnTo>
                <a:lnTo>
                  <a:pt x="1973260" y="1466862"/>
                </a:lnTo>
                <a:lnTo>
                  <a:pt x="2021783" y="1451222"/>
                </a:lnTo>
                <a:lnTo>
                  <a:pt x="2070530" y="1436298"/>
                </a:lnTo>
                <a:lnTo>
                  <a:pt x="2119431" y="1421872"/>
                </a:lnTo>
                <a:lnTo>
                  <a:pt x="2168414" y="1407722"/>
                </a:lnTo>
                <a:lnTo>
                  <a:pt x="2217407" y="1393629"/>
                </a:lnTo>
                <a:lnTo>
                  <a:pt x="2266341" y="1379371"/>
                </a:lnTo>
                <a:lnTo>
                  <a:pt x="2315144" y="1364729"/>
                </a:lnTo>
                <a:lnTo>
                  <a:pt x="2358142" y="1351389"/>
                </a:lnTo>
                <a:lnTo>
                  <a:pt x="2400806" y="1337148"/>
                </a:lnTo>
                <a:lnTo>
                  <a:pt x="2442803" y="1321263"/>
                </a:lnTo>
                <a:lnTo>
                  <a:pt x="2483800" y="1302994"/>
                </a:lnTo>
                <a:lnTo>
                  <a:pt x="2527575" y="1279481"/>
                </a:lnTo>
                <a:lnTo>
                  <a:pt x="2569112" y="1252470"/>
                </a:lnTo>
                <a:lnTo>
                  <a:pt x="2607744" y="1221616"/>
                </a:lnTo>
                <a:lnTo>
                  <a:pt x="2642804" y="1186573"/>
                </a:lnTo>
                <a:lnTo>
                  <a:pt x="2676214" y="1144135"/>
                </a:lnTo>
                <a:lnTo>
                  <a:pt x="2705290" y="1098678"/>
                </a:lnTo>
                <a:lnTo>
                  <a:pt x="2731428" y="1051165"/>
                </a:lnTo>
                <a:lnTo>
                  <a:pt x="2756023" y="1002562"/>
                </a:lnTo>
                <a:lnTo>
                  <a:pt x="2780472" y="953833"/>
                </a:lnTo>
                <a:lnTo>
                  <a:pt x="2815734" y="881142"/>
                </a:lnTo>
                <a:lnTo>
                  <a:pt x="2837341" y="834514"/>
                </a:lnTo>
                <a:lnTo>
                  <a:pt x="2860605" y="783385"/>
                </a:lnTo>
                <a:lnTo>
                  <a:pt x="2884781" y="729519"/>
                </a:lnTo>
                <a:lnTo>
                  <a:pt x="2909125" y="674681"/>
                </a:lnTo>
                <a:lnTo>
                  <a:pt x="2932893" y="620635"/>
                </a:lnTo>
                <a:lnTo>
                  <a:pt x="2955338" y="569147"/>
                </a:lnTo>
                <a:lnTo>
                  <a:pt x="2975717" y="521981"/>
                </a:lnTo>
                <a:lnTo>
                  <a:pt x="2993284" y="480902"/>
                </a:lnTo>
                <a:lnTo>
                  <a:pt x="3007294" y="447675"/>
                </a:lnTo>
              </a:path>
              <a:path w="3007359" h="2186304">
                <a:moveTo>
                  <a:pt x="0" y="2185922"/>
                </a:moveTo>
                <a:lnTo>
                  <a:pt x="31017" y="2131745"/>
                </a:lnTo>
                <a:lnTo>
                  <a:pt x="68010" y="2073038"/>
                </a:lnTo>
                <a:lnTo>
                  <a:pt x="113980" y="2008149"/>
                </a:lnTo>
                <a:lnTo>
                  <a:pt x="144184" y="1970362"/>
                </a:lnTo>
                <a:lnTo>
                  <a:pt x="175966" y="1933979"/>
                </a:lnTo>
                <a:lnTo>
                  <a:pt x="209097" y="1898804"/>
                </a:lnTo>
                <a:lnTo>
                  <a:pt x="243346" y="1864645"/>
                </a:lnTo>
                <a:lnTo>
                  <a:pt x="278481" y="1831308"/>
                </a:lnTo>
                <a:lnTo>
                  <a:pt x="314273" y="1798598"/>
                </a:lnTo>
                <a:lnTo>
                  <a:pt x="350491" y="1766322"/>
                </a:lnTo>
                <a:lnTo>
                  <a:pt x="386903" y="1734286"/>
                </a:lnTo>
                <a:lnTo>
                  <a:pt x="428119" y="1698445"/>
                </a:lnTo>
                <a:lnTo>
                  <a:pt x="470036" y="1663475"/>
                </a:lnTo>
                <a:lnTo>
                  <a:pt x="513125" y="1630349"/>
                </a:lnTo>
                <a:lnTo>
                  <a:pt x="557855" y="1600039"/>
                </a:lnTo>
                <a:lnTo>
                  <a:pt x="604693" y="1573515"/>
                </a:lnTo>
                <a:lnTo>
                  <a:pt x="654111" y="1551749"/>
                </a:lnTo>
                <a:lnTo>
                  <a:pt x="704968" y="1535764"/>
                </a:lnTo>
                <a:lnTo>
                  <a:pt x="757020" y="1524557"/>
                </a:lnTo>
                <a:lnTo>
                  <a:pt x="809907" y="1516712"/>
                </a:lnTo>
                <a:lnTo>
                  <a:pt x="863269" y="1510817"/>
                </a:lnTo>
                <a:lnTo>
                  <a:pt x="916747" y="1505458"/>
                </a:lnTo>
                <a:lnTo>
                  <a:pt x="962288" y="1500502"/>
                </a:lnTo>
                <a:lnTo>
                  <a:pt x="1007793" y="1495243"/>
                </a:lnTo>
                <a:lnTo>
                  <a:pt x="1053285" y="1489850"/>
                </a:lnTo>
                <a:lnTo>
                  <a:pt x="1098790" y="1484490"/>
                </a:lnTo>
                <a:lnTo>
                  <a:pt x="1144331" y="1479334"/>
                </a:lnTo>
                <a:lnTo>
                  <a:pt x="1185495" y="1474938"/>
                </a:lnTo>
                <a:lnTo>
                  <a:pt x="1226659" y="1470542"/>
                </a:lnTo>
                <a:lnTo>
                  <a:pt x="1267775" y="1465732"/>
                </a:lnTo>
                <a:lnTo>
                  <a:pt x="1308796" y="1460093"/>
                </a:lnTo>
                <a:lnTo>
                  <a:pt x="1357695" y="1451850"/>
                </a:lnTo>
                <a:lnTo>
                  <a:pt x="1406261" y="1442061"/>
                </a:lnTo>
                <a:lnTo>
                  <a:pt x="1454457" y="1430737"/>
                </a:lnTo>
                <a:lnTo>
                  <a:pt x="1502249" y="1417886"/>
                </a:lnTo>
                <a:lnTo>
                  <a:pt x="1549600" y="1403520"/>
                </a:lnTo>
                <a:lnTo>
                  <a:pt x="1596475" y="1387647"/>
                </a:lnTo>
                <a:lnTo>
                  <a:pt x="1642838" y="1370276"/>
                </a:lnTo>
                <a:lnTo>
                  <a:pt x="1688653" y="1351419"/>
                </a:lnTo>
                <a:lnTo>
                  <a:pt x="1738287" y="1329175"/>
                </a:lnTo>
                <a:lnTo>
                  <a:pt x="1787398" y="1305771"/>
                </a:lnTo>
                <a:lnTo>
                  <a:pt x="1836227" y="1281734"/>
                </a:lnTo>
                <a:lnTo>
                  <a:pt x="1885014" y="1257592"/>
                </a:lnTo>
                <a:lnTo>
                  <a:pt x="1933998" y="1233870"/>
                </a:lnTo>
                <a:lnTo>
                  <a:pt x="1983420" y="1211097"/>
                </a:lnTo>
                <a:lnTo>
                  <a:pt x="2033622" y="1189573"/>
                </a:lnTo>
                <a:lnTo>
                  <a:pt x="2084226" y="1169001"/>
                </a:lnTo>
                <a:lnTo>
                  <a:pt x="2134964" y="1148739"/>
                </a:lnTo>
                <a:lnTo>
                  <a:pt x="2185568" y="1128149"/>
                </a:lnTo>
                <a:lnTo>
                  <a:pt x="2235769" y="1106589"/>
                </a:lnTo>
                <a:lnTo>
                  <a:pt x="2281842" y="1085117"/>
                </a:lnTo>
                <a:lnTo>
                  <a:pt x="2327073" y="1061992"/>
                </a:lnTo>
                <a:lnTo>
                  <a:pt x="2371201" y="1036950"/>
                </a:lnTo>
                <a:lnTo>
                  <a:pt x="2413963" y="1009723"/>
                </a:lnTo>
                <a:lnTo>
                  <a:pt x="2455098" y="980046"/>
                </a:lnTo>
                <a:lnTo>
                  <a:pt x="2498282" y="944401"/>
                </a:lnTo>
                <a:lnTo>
                  <a:pt x="2538918" y="905956"/>
                </a:lnTo>
                <a:lnTo>
                  <a:pt x="2577078" y="864997"/>
                </a:lnTo>
                <a:lnTo>
                  <a:pt x="2612832" y="821817"/>
                </a:lnTo>
                <a:lnTo>
                  <a:pt x="2642160" y="782445"/>
                </a:lnTo>
                <a:lnTo>
                  <a:pt x="2669726" y="741849"/>
                </a:lnTo>
                <a:lnTo>
                  <a:pt x="2695659" y="700174"/>
                </a:lnTo>
                <a:lnTo>
                  <a:pt x="2720085" y="657566"/>
                </a:lnTo>
                <a:lnTo>
                  <a:pt x="2743134" y="614172"/>
                </a:lnTo>
                <a:lnTo>
                  <a:pt x="2773125" y="548607"/>
                </a:lnTo>
                <a:lnTo>
                  <a:pt x="2792241" y="503431"/>
                </a:lnTo>
                <a:lnTo>
                  <a:pt x="2813286" y="452247"/>
                </a:lnTo>
                <a:lnTo>
                  <a:pt x="2835645" y="396743"/>
                </a:lnTo>
                <a:lnTo>
                  <a:pt x="2858707" y="338610"/>
                </a:lnTo>
                <a:lnTo>
                  <a:pt x="2881856" y="279538"/>
                </a:lnTo>
                <a:lnTo>
                  <a:pt x="2904480" y="221215"/>
                </a:lnTo>
                <a:lnTo>
                  <a:pt x="2925965" y="165333"/>
                </a:lnTo>
                <a:lnTo>
                  <a:pt x="2945698" y="113581"/>
                </a:lnTo>
                <a:lnTo>
                  <a:pt x="2963064" y="67648"/>
                </a:lnTo>
                <a:lnTo>
                  <a:pt x="2977451" y="29224"/>
                </a:lnTo>
                <a:lnTo>
                  <a:pt x="2988244" y="0"/>
                </a:lnTo>
              </a:path>
            </a:pathLst>
          </a:custGeom>
          <a:ln w="9525">
            <a:solidFill>
              <a:srgbClr val="78B146"/>
            </a:solidFill>
            <a:prstDash val="sysDash"/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4655566" y="844232"/>
            <a:ext cx="2880867" cy="701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4400" b="1" i="0">
                <a:solidFill>
                  <a:schemeClr val="bg1"/>
                </a:solidFill>
                <a:latin typeface="Sitka Heading"/>
                <a:cs typeface="Sitka Heading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447992" y="2068830"/>
            <a:ext cx="11296014" cy="40798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750" b="1" i="0">
                <a:solidFill>
                  <a:schemeClr val="bg1"/>
                </a:solidFill>
                <a:latin typeface="Sitka Heading"/>
                <a:cs typeface="Sitka Heading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5280" y="6377940"/>
            <a:ext cx="390144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/29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77824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0" y="0"/>
            <a:ext cx="12192446" cy="6858381"/>
            <a:chOff x="0" y="0"/>
            <a:chExt cx="12192446" cy="6858381"/>
          </a:xfrm>
        </p:grpSpPr>
        <p:pic>
          <p:nvPicPr>
            <p:cNvPr id="3" name="object 3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  <p:sp>
          <p:nvSpPr>
            <p:cNvPr id="5" name="object 5"/>
            <p:cNvSpPr/>
            <p:nvPr/>
          </p:nvSpPr>
          <p:spPr>
            <a:xfrm>
              <a:off x="14287" y="23875"/>
              <a:ext cx="2200275" cy="3324225"/>
            </a:xfrm>
            <a:custGeom>
              <a:avLst/>
              <a:gdLst/>
              <a:ahLst/>
              <a:cxnLst/>
              <a:rect l="l" t="t" r="r" b="b"/>
              <a:pathLst>
                <a:path w="2200275" h="3324225">
                  <a:moveTo>
                    <a:pt x="9525" y="3324098"/>
                  </a:moveTo>
                  <a:lnTo>
                    <a:pt x="50287" y="3292457"/>
                  </a:lnTo>
                  <a:lnTo>
                    <a:pt x="90954" y="3260709"/>
                  </a:lnTo>
                  <a:lnTo>
                    <a:pt x="131454" y="3228746"/>
                  </a:lnTo>
                  <a:lnTo>
                    <a:pt x="171716" y="3196463"/>
                  </a:lnTo>
                  <a:lnTo>
                    <a:pt x="210124" y="3165272"/>
                  </a:lnTo>
                  <a:lnTo>
                    <a:pt x="248289" y="3133750"/>
                  </a:lnTo>
                  <a:lnTo>
                    <a:pt x="286039" y="3101753"/>
                  </a:lnTo>
                  <a:lnTo>
                    <a:pt x="323202" y="3069139"/>
                  </a:lnTo>
                  <a:lnTo>
                    <a:pt x="359607" y="3035764"/>
                  </a:lnTo>
                  <a:lnTo>
                    <a:pt x="395082" y="3001485"/>
                  </a:lnTo>
                  <a:lnTo>
                    <a:pt x="429455" y="2966158"/>
                  </a:lnTo>
                  <a:lnTo>
                    <a:pt x="462554" y="2929641"/>
                  </a:lnTo>
                  <a:lnTo>
                    <a:pt x="494207" y="2891790"/>
                  </a:lnTo>
                  <a:lnTo>
                    <a:pt x="518891" y="2860226"/>
                  </a:lnTo>
                  <a:lnTo>
                    <a:pt x="543439" y="2828639"/>
                  </a:lnTo>
                  <a:lnTo>
                    <a:pt x="568663" y="2797671"/>
                  </a:lnTo>
                  <a:lnTo>
                    <a:pt x="595376" y="2767965"/>
                  </a:lnTo>
                  <a:lnTo>
                    <a:pt x="636231" y="2729787"/>
                  </a:lnTo>
                  <a:lnTo>
                    <a:pt x="680426" y="2695527"/>
                  </a:lnTo>
                  <a:lnTo>
                    <a:pt x="726933" y="2664148"/>
                  </a:lnTo>
                  <a:lnTo>
                    <a:pt x="774725" y="2634615"/>
                  </a:lnTo>
                  <a:lnTo>
                    <a:pt x="819885" y="2607935"/>
                  </a:lnTo>
                  <a:lnTo>
                    <a:pt x="865510" y="2582085"/>
                  </a:lnTo>
                  <a:lnTo>
                    <a:pt x="911643" y="2557192"/>
                  </a:lnTo>
                  <a:lnTo>
                    <a:pt x="958329" y="2533384"/>
                  </a:lnTo>
                  <a:lnTo>
                    <a:pt x="1005611" y="2510790"/>
                  </a:lnTo>
                  <a:lnTo>
                    <a:pt x="1042828" y="2493823"/>
                  </a:lnTo>
                  <a:lnTo>
                    <a:pt x="1079815" y="2476500"/>
                  </a:lnTo>
                  <a:lnTo>
                    <a:pt x="1115962" y="2457747"/>
                  </a:lnTo>
                  <a:lnTo>
                    <a:pt x="1150658" y="2436495"/>
                  </a:lnTo>
                  <a:lnTo>
                    <a:pt x="1187397" y="2408326"/>
                  </a:lnTo>
                  <a:lnTo>
                    <a:pt x="1221070" y="2376598"/>
                  </a:lnTo>
                  <a:lnTo>
                    <a:pt x="1252213" y="2342179"/>
                  </a:lnTo>
                  <a:lnTo>
                    <a:pt x="1281366" y="2305939"/>
                  </a:lnTo>
                  <a:lnTo>
                    <a:pt x="1309804" y="2267442"/>
                  </a:lnTo>
                  <a:lnTo>
                    <a:pt x="1336702" y="2227885"/>
                  </a:lnTo>
                  <a:lnTo>
                    <a:pt x="1362122" y="2187360"/>
                  </a:lnTo>
                  <a:lnTo>
                    <a:pt x="1386128" y="2145957"/>
                  </a:lnTo>
                  <a:lnTo>
                    <a:pt x="1408781" y="2103768"/>
                  </a:lnTo>
                  <a:lnTo>
                    <a:pt x="1430143" y="2060883"/>
                  </a:lnTo>
                  <a:lnTo>
                    <a:pt x="1450276" y="2017395"/>
                  </a:lnTo>
                  <a:lnTo>
                    <a:pt x="1469185" y="1973639"/>
                  </a:lnTo>
                  <a:lnTo>
                    <a:pt x="1487154" y="1929479"/>
                  </a:lnTo>
                  <a:lnTo>
                    <a:pt x="1504336" y="1884985"/>
                  </a:lnTo>
                  <a:lnTo>
                    <a:pt x="1520888" y="1840229"/>
                  </a:lnTo>
                  <a:lnTo>
                    <a:pt x="1538951" y="1790206"/>
                  </a:lnTo>
                  <a:lnTo>
                    <a:pt x="1557271" y="1740309"/>
                  </a:lnTo>
                  <a:lnTo>
                    <a:pt x="1576530" y="1690877"/>
                  </a:lnTo>
                  <a:lnTo>
                    <a:pt x="1597408" y="1642251"/>
                  </a:lnTo>
                  <a:lnTo>
                    <a:pt x="1620586" y="1594767"/>
                  </a:lnTo>
                  <a:lnTo>
                    <a:pt x="1646745" y="1548764"/>
                  </a:lnTo>
                  <a:lnTo>
                    <a:pt x="1674334" y="1507392"/>
                  </a:lnTo>
                  <a:lnTo>
                    <a:pt x="1704177" y="1467640"/>
                  </a:lnTo>
                  <a:lnTo>
                    <a:pt x="1735566" y="1428988"/>
                  </a:lnTo>
                  <a:lnTo>
                    <a:pt x="1767790" y="1390918"/>
                  </a:lnTo>
                  <a:lnTo>
                    <a:pt x="1800142" y="1352911"/>
                  </a:lnTo>
                  <a:lnTo>
                    <a:pt x="1831911" y="1314450"/>
                  </a:lnTo>
                  <a:lnTo>
                    <a:pt x="1860813" y="1277399"/>
                  </a:lnTo>
                  <a:lnTo>
                    <a:pt x="1888718" y="1239618"/>
                  </a:lnTo>
                  <a:lnTo>
                    <a:pt x="1915810" y="1201245"/>
                  </a:lnTo>
                  <a:lnTo>
                    <a:pt x="1942279" y="1162416"/>
                  </a:lnTo>
                  <a:lnTo>
                    <a:pt x="1968310" y="1123270"/>
                  </a:lnTo>
                  <a:lnTo>
                    <a:pt x="1994090" y="1083945"/>
                  </a:lnTo>
                  <a:lnTo>
                    <a:pt x="2022322" y="1040492"/>
                  </a:lnTo>
                  <a:lnTo>
                    <a:pt x="2050022" y="996714"/>
                  </a:lnTo>
                  <a:lnTo>
                    <a:pt x="2076656" y="952372"/>
                  </a:lnTo>
                  <a:lnTo>
                    <a:pt x="2101692" y="907226"/>
                  </a:lnTo>
                  <a:lnTo>
                    <a:pt x="2124597" y="861036"/>
                  </a:lnTo>
                  <a:lnTo>
                    <a:pt x="2144839" y="813562"/>
                  </a:lnTo>
                  <a:lnTo>
                    <a:pt x="2160127" y="770286"/>
                  </a:lnTo>
                  <a:lnTo>
                    <a:pt x="2172843" y="726249"/>
                  </a:lnTo>
                  <a:lnTo>
                    <a:pt x="2182987" y="681545"/>
                  </a:lnTo>
                  <a:lnTo>
                    <a:pt x="2190559" y="636270"/>
                  </a:lnTo>
                  <a:lnTo>
                    <a:pt x="2195532" y="593605"/>
                  </a:lnTo>
                  <a:lnTo>
                    <a:pt x="2198624" y="550799"/>
                  </a:lnTo>
                  <a:lnTo>
                    <a:pt x="2200096" y="507896"/>
                  </a:lnTo>
                  <a:lnTo>
                    <a:pt x="2200211" y="464947"/>
                  </a:lnTo>
                  <a:lnTo>
                    <a:pt x="2198967" y="420683"/>
                  </a:lnTo>
                  <a:lnTo>
                    <a:pt x="2195877" y="376586"/>
                  </a:lnTo>
                  <a:lnTo>
                    <a:pt x="2190192" y="332823"/>
                  </a:lnTo>
                  <a:lnTo>
                    <a:pt x="2181161" y="289559"/>
                  </a:lnTo>
                  <a:lnTo>
                    <a:pt x="2153243" y="201132"/>
                  </a:lnTo>
                  <a:lnTo>
                    <a:pt x="2117455" y="106394"/>
                  </a:lnTo>
                  <a:lnTo>
                    <a:pt x="2086596" y="30849"/>
                  </a:lnTo>
                  <a:lnTo>
                    <a:pt x="2073465" y="0"/>
                  </a:lnTo>
                </a:path>
                <a:path w="2200275" h="3324225">
                  <a:moveTo>
                    <a:pt x="0" y="3067050"/>
                  </a:moveTo>
                  <a:lnTo>
                    <a:pt x="34880" y="3033579"/>
                  </a:lnTo>
                  <a:lnTo>
                    <a:pt x="73722" y="2994818"/>
                  </a:lnTo>
                  <a:lnTo>
                    <a:pt x="113428" y="2953856"/>
                  </a:lnTo>
                  <a:lnTo>
                    <a:pt x="150902" y="2913784"/>
                  </a:lnTo>
                  <a:lnTo>
                    <a:pt x="183045" y="2877693"/>
                  </a:lnTo>
                  <a:lnTo>
                    <a:pt x="213924" y="2840019"/>
                  </a:lnTo>
                  <a:lnTo>
                    <a:pt x="243595" y="2801401"/>
                  </a:lnTo>
                  <a:lnTo>
                    <a:pt x="272979" y="2762570"/>
                  </a:lnTo>
                  <a:lnTo>
                    <a:pt x="303001" y="2724256"/>
                  </a:lnTo>
                  <a:lnTo>
                    <a:pt x="334581" y="2687193"/>
                  </a:lnTo>
                  <a:lnTo>
                    <a:pt x="360995" y="2659389"/>
                  </a:lnTo>
                  <a:lnTo>
                    <a:pt x="388358" y="2632503"/>
                  </a:lnTo>
                  <a:lnTo>
                    <a:pt x="416004" y="2605879"/>
                  </a:lnTo>
                  <a:lnTo>
                    <a:pt x="443268" y="2578862"/>
                  </a:lnTo>
                  <a:lnTo>
                    <a:pt x="476632" y="2543669"/>
                  </a:lnTo>
                  <a:lnTo>
                    <a:pt x="509274" y="2507821"/>
                  </a:lnTo>
                  <a:lnTo>
                    <a:pt x="541857" y="2471902"/>
                  </a:lnTo>
                  <a:lnTo>
                    <a:pt x="575043" y="2436495"/>
                  </a:lnTo>
                  <a:lnTo>
                    <a:pt x="594562" y="2416712"/>
                  </a:lnTo>
                  <a:lnTo>
                    <a:pt x="614360" y="2397204"/>
                  </a:lnTo>
                  <a:lnTo>
                    <a:pt x="634195" y="2377719"/>
                  </a:lnTo>
                  <a:lnTo>
                    <a:pt x="653821" y="2358009"/>
                  </a:lnTo>
                  <a:lnTo>
                    <a:pt x="688972" y="2321109"/>
                  </a:lnTo>
                  <a:lnTo>
                    <a:pt x="723355" y="2283507"/>
                  </a:lnTo>
                  <a:lnTo>
                    <a:pt x="757178" y="2245405"/>
                  </a:lnTo>
                  <a:lnTo>
                    <a:pt x="790651" y="2207006"/>
                  </a:lnTo>
                  <a:lnTo>
                    <a:pt x="816834" y="2176768"/>
                  </a:lnTo>
                  <a:lnTo>
                    <a:pt x="843005" y="2146554"/>
                  </a:lnTo>
                  <a:lnTo>
                    <a:pt x="869030" y="2116244"/>
                  </a:lnTo>
                  <a:lnTo>
                    <a:pt x="894778" y="2085721"/>
                  </a:lnTo>
                  <a:lnTo>
                    <a:pt x="937826" y="2032857"/>
                  </a:lnTo>
                  <a:lnTo>
                    <a:pt x="978636" y="1978278"/>
                  </a:lnTo>
                  <a:lnTo>
                    <a:pt x="1005696" y="1937950"/>
                  </a:lnTo>
                  <a:lnTo>
                    <a:pt x="1031250" y="1896690"/>
                  </a:lnTo>
                  <a:lnTo>
                    <a:pt x="1055708" y="1854752"/>
                  </a:lnTo>
                  <a:lnTo>
                    <a:pt x="1079482" y="1812394"/>
                  </a:lnTo>
                  <a:lnTo>
                    <a:pt x="1102982" y="1769872"/>
                  </a:lnTo>
                  <a:lnTo>
                    <a:pt x="1138383" y="1704848"/>
                  </a:lnTo>
                  <a:lnTo>
                    <a:pt x="1173022" y="1639443"/>
                  </a:lnTo>
                  <a:lnTo>
                    <a:pt x="1189159" y="1608510"/>
                  </a:lnTo>
                  <a:lnTo>
                    <a:pt x="1205607" y="1577721"/>
                  </a:lnTo>
                  <a:lnTo>
                    <a:pt x="1242098" y="1518285"/>
                  </a:lnTo>
                  <a:lnTo>
                    <a:pt x="1270707" y="1481047"/>
                  </a:lnTo>
                  <a:lnTo>
                    <a:pt x="1301732" y="1445846"/>
                  </a:lnTo>
                  <a:lnTo>
                    <a:pt x="1334393" y="1412004"/>
                  </a:lnTo>
                  <a:lnTo>
                    <a:pt x="1367912" y="1378845"/>
                  </a:lnTo>
                  <a:lnTo>
                    <a:pt x="1401508" y="1345691"/>
                  </a:lnTo>
                  <a:lnTo>
                    <a:pt x="1429718" y="1317113"/>
                  </a:lnTo>
                  <a:lnTo>
                    <a:pt x="1457833" y="1288414"/>
                  </a:lnTo>
                  <a:lnTo>
                    <a:pt x="1486233" y="1260002"/>
                  </a:lnTo>
                  <a:lnTo>
                    <a:pt x="1515300" y="1232281"/>
                  </a:lnTo>
                  <a:lnTo>
                    <a:pt x="1552561" y="1198961"/>
                  </a:lnTo>
                  <a:lnTo>
                    <a:pt x="1590309" y="1166129"/>
                  </a:lnTo>
                  <a:lnTo>
                    <a:pt x="1627510" y="1132750"/>
                  </a:lnTo>
                  <a:lnTo>
                    <a:pt x="1663128" y="1097788"/>
                  </a:lnTo>
                  <a:lnTo>
                    <a:pt x="1700345" y="1055957"/>
                  </a:lnTo>
                  <a:lnTo>
                    <a:pt x="1735216" y="1012126"/>
                  </a:lnTo>
                  <a:lnTo>
                    <a:pt x="1768588" y="967057"/>
                  </a:lnTo>
                  <a:lnTo>
                    <a:pt x="1801304" y="921512"/>
                  </a:lnTo>
                  <a:lnTo>
                    <a:pt x="1837864" y="869632"/>
                  </a:lnTo>
                  <a:lnTo>
                    <a:pt x="1871281" y="815848"/>
                  </a:lnTo>
                  <a:lnTo>
                    <a:pt x="1902047" y="752538"/>
                  </a:lnTo>
                  <a:lnTo>
                    <a:pt x="1928431" y="687324"/>
                  </a:lnTo>
                  <a:lnTo>
                    <a:pt x="1940538" y="656740"/>
                  </a:lnTo>
                  <a:lnTo>
                    <a:pt x="1962989" y="594955"/>
                  </a:lnTo>
                  <a:lnTo>
                    <a:pt x="1975385" y="546179"/>
                  </a:lnTo>
                  <a:lnTo>
                    <a:pt x="1981136" y="494029"/>
                  </a:lnTo>
                  <a:lnTo>
                    <a:pt x="1979852" y="449046"/>
                  </a:lnTo>
                  <a:lnTo>
                    <a:pt x="1974103" y="404479"/>
                  </a:lnTo>
                  <a:lnTo>
                    <a:pt x="1963902" y="360745"/>
                  </a:lnTo>
                  <a:lnTo>
                    <a:pt x="1949259" y="318262"/>
                  </a:lnTo>
                  <a:lnTo>
                    <a:pt x="1889192" y="214098"/>
                  </a:lnTo>
                  <a:lnTo>
                    <a:pt x="1807813" y="110743"/>
                  </a:lnTo>
                  <a:lnTo>
                    <a:pt x="1736197" y="31583"/>
                  </a:lnTo>
                  <a:lnTo>
                    <a:pt x="1705419" y="0"/>
                  </a:lnTo>
                </a:path>
                <a:path w="2200275" h="3324225">
                  <a:moveTo>
                    <a:pt x="1150543" y="0"/>
                  </a:moveTo>
                  <a:lnTo>
                    <a:pt x="1188573" y="81581"/>
                  </a:lnTo>
                  <a:lnTo>
                    <a:pt x="1213676" y="133320"/>
                  </a:lnTo>
                  <a:lnTo>
                    <a:pt x="1239835" y="178450"/>
                  </a:lnTo>
                  <a:lnTo>
                    <a:pt x="1268498" y="205882"/>
                  </a:lnTo>
                  <a:lnTo>
                    <a:pt x="1321304" y="246629"/>
                  </a:lnTo>
                  <a:lnTo>
                    <a:pt x="1358511" y="274875"/>
                  </a:lnTo>
                  <a:lnTo>
                    <a:pt x="1395126" y="303720"/>
                  </a:lnTo>
                  <a:lnTo>
                    <a:pt x="1430492" y="333835"/>
                  </a:lnTo>
                  <a:lnTo>
                    <a:pt x="1463953" y="365891"/>
                  </a:lnTo>
                  <a:lnTo>
                    <a:pt x="1494853" y="400558"/>
                  </a:lnTo>
                  <a:lnTo>
                    <a:pt x="1526998" y="445123"/>
                  </a:lnTo>
                  <a:lnTo>
                    <a:pt x="1553035" y="493045"/>
                  </a:lnTo>
                  <a:lnTo>
                    <a:pt x="1571380" y="543968"/>
                  </a:lnTo>
                  <a:lnTo>
                    <a:pt x="1580451" y="597535"/>
                  </a:lnTo>
                  <a:lnTo>
                    <a:pt x="1579433" y="650220"/>
                  </a:lnTo>
                  <a:lnTo>
                    <a:pt x="1569831" y="701928"/>
                  </a:lnTo>
                  <a:lnTo>
                    <a:pt x="1553251" y="752304"/>
                  </a:lnTo>
                  <a:lnTo>
                    <a:pt x="1531302" y="800988"/>
                  </a:lnTo>
                  <a:lnTo>
                    <a:pt x="1505590" y="847179"/>
                  </a:lnTo>
                  <a:lnTo>
                    <a:pt x="1476200" y="890952"/>
                  </a:lnTo>
                  <a:lnTo>
                    <a:pt x="1443023" y="931844"/>
                  </a:lnTo>
                  <a:lnTo>
                    <a:pt x="1405953" y="969390"/>
                  </a:lnTo>
                  <a:lnTo>
                    <a:pt x="1366719" y="1001946"/>
                  </a:lnTo>
                  <a:lnTo>
                    <a:pt x="1324778" y="1030859"/>
                  </a:lnTo>
                  <a:lnTo>
                    <a:pt x="1280612" y="1056437"/>
                  </a:lnTo>
                  <a:lnTo>
                    <a:pt x="1234706" y="1078991"/>
                  </a:lnTo>
                  <a:lnTo>
                    <a:pt x="1189051" y="1098440"/>
                  </a:lnTo>
                  <a:lnTo>
                    <a:pt x="1142984" y="1116853"/>
                  </a:lnTo>
                  <a:lnTo>
                    <a:pt x="1097178" y="1135766"/>
                  </a:lnTo>
                  <a:lnTo>
                    <a:pt x="1052309" y="1156715"/>
                  </a:lnTo>
                  <a:lnTo>
                    <a:pt x="991131" y="1193625"/>
                  </a:lnTo>
                  <a:lnTo>
                    <a:pt x="938098" y="1240916"/>
                  </a:lnTo>
                  <a:lnTo>
                    <a:pt x="914350" y="1271656"/>
                  </a:lnTo>
                  <a:lnTo>
                    <a:pt x="894276" y="1304909"/>
                  </a:lnTo>
                  <a:lnTo>
                    <a:pt x="877079" y="1339947"/>
                  </a:lnTo>
                  <a:lnTo>
                    <a:pt x="861961" y="1376045"/>
                  </a:lnTo>
                  <a:lnTo>
                    <a:pt x="844737" y="1422282"/>
                  </a:lnTo>
                  <a:lnTo>
                    <a:pt x="829009" y="1469056"/>
                  </a:lnTo>
                  <a:lnTo>
                    <a:pt x="814289" y="1516187"/>
                  </a:lnTo>
                  <a:lnTo>
                    <a:pt x="800087" y="1563497"/>
                  </a:lnTo>
                  <a:lnTo>
                    <a:pt x="789129" y="1600362"/>
                  </a:lnTo>
                  <a:lnTo>
                    <a:pt x="778282" y="1637252"/>
                  </a:lnTo>
                  <a:lnTo>
                    <a:pt x="767638" y="1674189"/>
                  </a:lnTo>
                  <a:lnTo>
                    <a:pt x="757288" y="1711198"/>
                  </a:lnTo>
                  <a:lnTo>
                    <a:pt x="745583" y="1754181"/>
                  </a:lnTo>
                  <a:lnTo>
                    <a:pt x="733504" y="1797034"/>
                  </a:lnTo>
                  <a:lnTo>
                    <a:pt x="720230" y="1839481"/>
                  </a:lnTo>
                  <a:lnTo>
                    <a:pt x="704938" y="1881251"/>
                  </a:lnTo>
                  <a:lnTo>
                    <a:pt x="686345" y="1923490"/>
                  </a:lnTo>
                  <a:lnTo>
                    <a:pt x="665453" y="1964658"/>
                  </a:lnTo>
                  <a:lnTo>
                    <a:pt x="642900" y="2005016"/>
                  </a:lnTo>
                  <a:lnTo>
                    <a:pt x="619328" y="2044827"/>
                  </a:lnTo>
                  <a:lnTo>
                    <a:pt x="582785" y="2104151"/>
                  </a:lnTo>
                  <a:lnTo>
                    <a:pt x="544766" y="2162429"/>
                  </a:lnTo>
                  <a:lnTo>
                    <a:pt x="514583" y="2205998"/>
                  </a:lnTo>
                  <a:lnTo>
                    <a:pt x="483226" y="2248701"/>
                  </a:lnTo>
                  <a:lnTo>
                    <a:pt x="450629" y="2290435"/>
                  </a:lnTo>
                  <a:lnTo>
                    <a:pt x="416724" y="2331097"/>
                  </a:lnTo>
                  <a:lnTo>
                    <a:pt x="381444" y="2370582"/>
                  </a:lnTo>
                  <a:lnTo>
                    <a:pt x="349089" y="2404481"/>
                  </a:lnTo>
                  <a:lnTo>
                    <a:pt x="316002" y="2437653"/>
                  </a:lnTo>
                  <a:lnTo>
                    <a:pt x="282537" y="2470469"/>
                  </a:lnTo>
                  <a:lnTo>
                    <a:pt x="249047" y="2503297"/>
                  </a:lnTo>
                  <a:lnTo>
                    <a:pt x="220328" y="2531693"/>
                  </a:lnTo>
                  <a:lnTo>
                    <a:pt x="191779" y="2560256"/>
                  </a:lnTo>
                  <a:lnTo>
                    <a:pt x="163311" y="2588914"/>
                  </a:lnTo>
                  <a:lnTo>
                    <a:pt x="134835" y="2617597"/>
                  </a:lnTo>
                  <a:lnTo>
                    <a:pt x="105931" y="2646628"/>
                  </a:lnTo>
                  <a:lnTo>
                    <a:pt x="76991" y="2675636"/>
                  </a:lnTo>
                  <a:lnTo>
                    <a:pt x="48026" y="2704643"/>
                  </a:lnTo>
                  <a:lnTo>
                    <a:pt x="19050" y="2733675"/>
                  </a:lnTo>
                </a:path>
                <a:path w="2200275" h="3324225">
                  <a:moveTo>
                    <a:pt x="0" y="2638425"/>
                  </a:moveTo>
                  <a:lnTo>
                    <a:pt x="24848" y="2614074"/>
                  </a:lnTo>
                  <a:lnTo>
                    <a:pt x="57359" y="2582444"/>
                  </a:lnTo>
                  <a:lnTo>
                    <a:pt x="95326" y="2545597"/>
                  </a:lnTo>
                  <a:lnTo>
                    <a:pt x="136541" y="2505595"/>
                  </a:lnTo>
                  <a:lnTo>
                    <a:pt x="178798" y="2464502"/>
                  </a:lnTo>
                  <a:lnTo>
                    <a:pt x="219891" y="2424378"/>
                  </a:lnTo>
                  <a:lnTo>
                    <a:pt x="257611" y="2387286"/>
                  </a:lnTo>
                  <a:lnTo>
                    <a:pt x="289753" y="2355289"/>
                  </a:lnTo>
                  <a:lnTo>
                    <a:pt x="348685" y="2293801"/>
                  </a:lnTo>
                  <a:lnTo>
                    <a:pt x="382470" y="2256423"/>
                  </a:lnTo>
                  <a:lnTo>
                    <a:pt x="415245" y="2218197"/>
                  </a:lnTo>
                  <a:lnTo>
                    <a:pt x="446793" y="2179009"/>
                  </a:lnTo>
                  <a:lnTo>
                    <a:pt x="476894" y="2138741"/>
                  </a:lnTo>
                  <a:lnTo>
                    <a:pt x="505333" y="2097278"/>
                  </a:lnTo>
                  <a:lnTo>
                    <a:pt x="530225" y="2057314"/>
                  </a:lnTo>
                  <a:lnTo>
                    <a:pt x="553289" y="2016331"/>
                  </a:lnTo>
                  <a:lnTo>
                    <a:pt x="574484" y="1974389"/>
                  </a:lnTo>
                  <a:lnTo>
                    <a:pt x="593770" y="1931547"/>
                  </a:lnTo>
                  <a:lnTo>
                    <a:pt x="611106" y="1887866"/>
                  </a:lnTo>
                  <a:lnTo>
                    <a:pt x="626452" y="1843404"/>
                  </a:lnTo>
                  <a:lnTo>
                    <a:pt x="641193" y="1793358"/>
                  </a:lnTo>
                  <a:lnTo>
                    <a:pt x="653871" y="1742791"/>
                  </a:lnTo>
                  <a:lnTo>
                    <a:pt x="664961" y="1691822"/>
                  </a:lnTo>
                  <a:lnTo>
                    <a:pt x="674940" y="1640569"/>
                  </a:lnTo>
                  <a:lnTo>
                    <a:pt x="684283" y="1589149"/>
                  </a:lnTo>
                  <a:lnTo>
                    <a:pt x="693468" y="1537680"/>
                  </a:lnTo>
                  <a:lnTo>
                    <a:pt x="702970" y="1486281"/>
                  </a:lnTo>
                  <a:lnTo>
                    <a:pt x="712679" y="1437814"/>
                  </a:lnTo>
                  <a:lnTo>
                    <a:pt x="723118" y="1389482"/>
                  </a:lnTo>
                  <a:lnTo>
                    <a:pt x="734120" y="1341266"/>
                  </a:lnTo>
                  <a:lnTo>
                    <a:pt x="745519" y="1293147"/>
                  </a:lnTo>
                  <a:lnTo>
                    <a:pt x="757148" y="1245108"/>
                  </a:lnTo>
                  <a:lnTo>
                    <a:pt x="770652" y="1190811"/>
                  </a:lnTo>
                  <a:lnTo>
                    <a:pt x="786082" y="1137158"/>
                  </a:lnTo>
                  <a:lnTo>
                    <a:pt x="805365" y="1085123"/>
                  </a:lnTo>
                  <a:lnTo>
                    <a:pt x="830427" y="1035685"/>
                  </a:lnTo>
                  <a:lnTo>
                    <a:pt x="868229" y="985488"/>
                  </a:lnTo>
                  <a:lnTo>
                    <a:pt x="918108" y="948436"/>
                  </a:lnTo>
                  <a:lnTo>
                    <a:pt x="967401" y="932096"/>
                  </a:lnTo>
                  <a:lnTo>
                    <a:pt x="1019513" y="926591"/>
                  </a:lnTo>
                  <a:lnTo>
                    <a:pt x="1073122" y="926040"/>
                  </a:lnTo>
                  <a:lnTo>
                    <a:pt x="1126909" y="924560"/>
                  </a:lnTo>
                  <a:lnTo>
                    <a:pt x="1166240" y="919726"/>
                  </a:lnTo>
                  <a:lnTo>
                    <a:pt x="1204560" y="910558"/>
                  </a:lnTo>
                  <a:lnTo>
                    <a:pt x="1241112" y="896485"/>
                  </a:lnTo>
                  <a:lnTo>
                    <a:pt x="1275143" y="876935"/>
                  </a:lnTo>
                  <a:lnTo>
                    <a:pt x="1309741" y="847441"/>
                  </a:lnTo>
                  <a:lnTo>
                    <a:pt x="1337516" y="811958"/>
                  </a:lnTo>
                  <a:lnTo>
                    <a:pt x="1357600" y="771689"/>
                  </a:lnTo>
                  <a:lnTo>
                    <a:pt x="1369123" y="727837"/>
                  </a:lnTo>
                  <a:lnTo>
                    <a:pt x="1371560" y="699454"/>
                  </a:lnTo>
                  <a:lnTo>
                    <a:pt x="1370044" y="671179"/>
                  </a:lnTo>
                  <a:lnTo>
                    <a:pt x="1354772" y="616712"/>
                  </a:lnTo>
                  <a:lnTo>
                    <a:pt x="1312656" y="554863"/>
                  </a:lnTo>
                  <a:lnTo>
                    <a:pt x="1255966" y="504063"/>
                  </a:lnTo>
                  <a:lnTo>
                    <a:pt x="1216912" y="475702"/>
                  </a:lnTo>
                  <a:lnTo>
                    <a:pt x="1176193" y="449865"/>
                  </a:lnTo>
                  <a:lnTo>
                    <a:pt x="1133942" y="426553"/>
                  </a:lnTo>
                  <a:lnTo>
                    <a:pt x="1090295" y="405764"/>
                  </a:lnTo>
                  <a:lnTo>
                    <a:pt x="1037740" y="383835"/>
                  </a:lnTo>
                  <a:lnTo>
                    <a:pt x="985423" y="361775"/>
                  </a:lnTo>
                  <a:lnTo>
                    <a:pt x="935341" y="336309"/>
                  </a:lnTo>
                  <a:lnTo>
                    <a:pt x="889495" y="304165"/>
                  </a:lnTo>
                  <a:lnTo>
                    <a:pt x="840971" y="247888"/>
                  </a:lnTo>
                  <a:lnTo>
                    <a:pt x="822566" y="178943"/>
                  </a:lnTo>
                  <a:lnTo>
                    <a:pt x="838977" y="134695"/>
                  </a:lnTo>
                  <a:lnTo>
                    <a:pt x="873718" y="74993"/>
                  </a:lnTo>
                  <a:lnTo>
                    <a:pt x="908198" y="22530"/>
                  </a:lnTo>
                  <a:lnTo>
                    <a:pt x="923823" y="0"/>
                  </a:lnTo>
                </a:path>
                <a:path w="2200275" h="3324225">
                  <a:moveTo>
                    <a:pt x="16946" y="523875"/>
                  </a:moveTo>
                  <a:lnTo>
                    <a:pt x="58234" y="526496"/>
                  </a:lnTo>
                  <a:lnTo>
                    <a:pt x="106823" y="531830"/>
                  </a:lnTo>
                  <a:lnTo>
                    <a:pt x="157576" y="539511"/>
                  </a:lnTo>
                  <a:lnTo>
                    <a:pt x="205359" y="549173"/>
                  </a:lnTo>
                  <a:lnTo>
                    <a:pt x="245033" y="560451"/>
                  </a:lnTo>
                  <a:lnTo>
                    <a:pt x="284421" y="575817"/>
                  </a:lnTo>
                  <a:lnTo>
                    <a:pt x="322289" y="594232"/>
                  </a:lnTo>
                  <a:lnTo>
                    <a:pt x="357778" y="616457"/>
                  </a:lnTo>
                  <a:lnTo>
                    <a:pt x="390029" y="643254"/>
                  </a:lnTo>
                  <a:lnTo>
                    <a:pt x="436298" y="701389"/>
                  </a:lnTo>
                  <a:lnTo>
                    <a:pt x="468109" y="768858"/>
                  </a:lnTo>
                  <a:lnTo>
                    <a:pt x="480026" y="808343"/>
                  </a:lnTo>
                  <a:lnTo>
                    <a:pt x="488437" y="848709"/>
                  </a:lnTo>
                  <a:lnTo>
                    <a:pt x="493850" y="889694"/>
                  </a:lnTo>
                  <a:lnTo>
                    <a:pt x="496773" y="931037"/>
                  </a:lnTo>
                  <a:lnTo>
                    <a:pt x="497770" y="981863"/>
                  </a:lnTo>
                  <a:lnTo>
                    <a:pt x="496848" y="1032695"/>
                  </a:lnTo>
                  <a:lnTo>
                    <a:pt x="494998" y="1083540"/>
                  </a:lnTo>
                  <a:lnTo>
                    <a:pt x="493208" y="1134403"/>
                  </a:lnTo>
                  <a:lnTo>
                    <a:pt x="492467" y="1185290"/>
                  </a:lnTo>
                  <a:lnTo>
                    <a:pt x="493420" y="1233119"/>
                  </a:lnTo>
                  <a:lnTo>
                    <a:pt x="495608" y="1280926"/>
                  </a:lnTo>
                  <a:lnTo>
                    <a:pt x="498435" y="1328719"/>
                  </a:lnTo>
                  <a:lnTo>
                    <a:pt x="501304" y="1376507"/>
                  </a:lnTo>
                  <a:lnTo>
                    <a:pt x="503620" y="1424300"/>
                  </a:lnTo>
                  <a:lnTo>
                    <a:pt x="504784" y="1472107"/>
                  </a:lnTo>
                  <a:lnTo>
                    <a:pt x="504202" y="1519936"/>
                  </a:lnTo>
                  <a:lnTo>
                    <a:pt x="501295" y="1568989"/>
                  </a:lnTo>
                  <a:lnTo>
                    <a:pt x="496225" y="1617852"/>
                  </a:lnTo>
                  <a:lnTo>
                    <a:pt x="489324" y="1666525"/>
                  </a:lnTo>
                  <a:lnTo>
                    <a:pt x="480923" y="1715008"/>
                  </a:lnTo>
                  <a:lnTo>
                    <a:pt x="471297" y="1762373"/>
                  </a:lnTo>
                  <a:lnTo>
                    <a:pt x="460005" y="1809321"/>
                  </a:lnTo>
                  <a:lnTo>
                    <a:pt x="446738" y="1855722"/>
                  </a:lnTo>
                  <a:lnTo>
                    <a:pt x="431190" y="1901444"/>
                  </a:lnTo>
                  <a:lnTo>
                    <a:pt x="411931" y="1948805"/>
                  </a:lnTo>
                  <a:lnTo>
                    <a:pt x="389945" y="1994878"/>
                  </a:lnTo>
                  <a:lnTo>
                    <a:pt x="365439" y="2039667"/>
                  </a:lnTo>
                  <a:lnTo>
                    <a:pt x="338624" y="2083176"/>
                  </a:lnTo>
                  <a:lnTo>
                    <a:pt x="309709" y="2125407"/>
                  </a:lnTo>
                  <a:lnTo>
                    <a:pt x="278904" y="2166366"/>
                  </a:lnTo>
                  <a:lnTo>
                    <a:pt x="241220" y="2213117"/>
                  </a:lnTo>
                  <a:lnTo>
                    <a:pt x="206092" y="2254009"/>
                  </a:lnTo>
                  <a:lnTo>
                    <a:pt x="171826" y="2290706"/>
                  </a:lnTo>
                  <a:lnTo>
                    <a:pt x="136729" y="2324875"/>
                  </a:lnTo>
                  <a:lnTo>
                    <a:pt x="99109" y="2358182"/>
                  </a:lnTo>
                  <a:lnTo>
                    <a:pt x="57272" y="2392293"/>
                  </a:lnTo>
                  <a:lnTo>
                    <a:pt x="9525" y="2428875"/>
                  </a:lnTo>
                </a:path>
                <a:path w="2200275" h="3324225">
                  <a:moveTo>
                    <a:pt x="11037" y="658495"/>
                  </a:moveTo>
                  <a:lnTo>
                    <a:pt x="57638" y="657604"/>
                  </a:lnTo>
                  <a:lnTo>
                    <a:pt x="108444" y="663273"/>
                  </a:lnTo>
                  <a:lnTo>
                    <a:pt x="157993" y="675157"/>
                  </a:lnTo>
                  <a:lnTo>
                    <a:pt x="200825" y="692912"/>
                  </a:lnTo>
                  <a:lnTo>
                    <a:pt x="245505" y="722570"/>
                  </a:lnTo>
                  <a:lnTo>
                    <a:pt x="283906" y="759205"/>
                  </a:lnTo>
                  <a:lnTo>
                    <a:pt x="314819" y="802032"/>
                  </a:lnTo>
                  <a:lnTo>
                    <a:pt x="337032" y="850264"/>
                  </a:lnTo>
                  <a:lnTo>
                    <a:pt x="348816" y="896484"/>
                  </a:lnTo>
                  <a:lnTo>
                    <a:pt x="354145" y="943671"/>
                  </a:lnTo>
                  <a:lnTo>
                    <a:pt x="355058" y="991584"/>
                  </a:lnTo>
                  <a:lnTo>
                    <a:pt x="353596" y="1039984"/>
                  </a:lnTo>
                  <a:lnTo>
                    <a:pt x="351797" y="1088631"/>
                  </a:lnTo>
                  <a:lnTo>
                    <a:pt x="351701" y="1137285"/>
                  </a:lnTo>
                  <a:lnTo>
                    <a:pt x="355309" y="1189673"/>
                  </a:lnTo>
                  <a:lnTo>
                    <a:pt x="362084" y="1241774"/>
                  </a:lnTo>
                  <a:lnTo>
                    <a:pt x="370661" y="1293729"/>
                  </a:lnTo>
                  <a:lnTo>
                    <a:pt x="379673" y="1345678"/>
                  </a:lnTo>
                  <a:lnTo>
                    <a:pt x="387756" y="1397762"/>
                  </a:lnTo>
                  <a:lnTo>
                    <a:pt x="393521" y="1445178"/>
                  </a:lnTo>
                  <a:lnTo>
                    <a:pt x="397626" y="1492747"/>
                  </a:lnTo>
                  <a:lnTo>
                    <a:pt x="399786" y="1540408"/>
                  </a:lnTo>
                  <a:lnTo>
                    <a:pt x="399715" y="1588099"/>
                  </a:lnTo>
                  <a:lnTo>
                    <a:pt x="397129" y="1635760"/>
                  </a:lnTo>
                  <a:lnTo>
                    <a:pt x="391078" y="1687717"/>
                  </a:lnTo>
                  <a:lnTo>
                    <a:pt x="381814" y="1739150"/>
                  </a:lnTo>
                  <a:lnTo>
                    <a:pt x="369565" y="1789991"/>
                  </a:lnTo>
                  <a:lnTo>
                    <a:pt x="354561" y="1840175"/>
                  </a:lnTo>
                  <a:lnTo>
                    <a:pt x="337032" y="1889633"/>
                  </a:lnTo>
                  <a:lnTo>
                    <a:pt x="318598" y="1935494"/>
                  </a:lnTo>
                  <a:lnTo>
                    <a:pt x="298374" y="1980593"/>
                  </a:lnTo>
                  <a:lnTo>
                    <a:pt x="276155" y="2024697"/>
                  </a:lnTo>
                  <a:lnTo>
                    <a:pt x="251734" y="2067574"/>
                  </a:lnTo>
                  <a:lnTo>
                    <a:pt x="224906" y="2108990"/>
                  </a:lnTo>
                  <a:lnTo>
                    <a:pt x="195465" y="2148713"/>
                  </a:lnTo>
                  <a:lnTo>
                    <a:pt x="164380" y="2184406"/>
                  </a:lnTo>
                  <a:lnTo>
                    <a:pt x="123459" y="2226902"/>
                  </a:lnTo>
                  <a:lnTo>
                    <a:pt x="78535" y="2270995"/>
                  </a:lnTo>
                  <a:lnTo>
                    <a:pt x="35438" y="2311480"/>
                  </a:lnTo>
                  <a:lnTo>
                    <a:pt x="0" y="2343150"/>
                  </a:lnTo>
                </a:path>
                <a:path w="2200275" h="3324225">
                  <a:moveTo>
                    <a:pt x="9525" y="866775"/>
                  </a:moveTo>
                  <a:lnTo>
                    <a:pt x="74015" y="875188"/>
                  </a:lnTo>
                  <a:lnTo>
                    <a:pt x="126809" y="906652"/>
                  </a:lnTo>
                  <a:lnTo>
                    <a:pt x="148458" y="956945"/>
                  </a:lnTo>
                  <a:lnTo>
                    <a:pt x="154343" y="1013333"/>
                  </a:lnTo>
                  <a:lnTo>
                    <a:pt x="157497" y="1051278"/>
                  </a:lnTo>
                  <a:lnTo>
                    <a:pt x="168112" y="1126597"/>
                  </a:lnTo>
                  <a:lnTo>
                    <a:pt x="188632" y="1209569"/>
                  </a:lnTo>
                  <a:lnTo>
                    <a:pt x="203486" y="1254707"/>
                  </a:lnTo>
                  <a:lnTo>
                    <a:pt x="219100" y="1299643"/>
                  </a:lnTo>
                  <a:lnTo>
                    <a:pt x="234015" y="1344781"/>
                  </a:lnTo>
                  <a:lnTo>
                    <a:pt x="246773" y="1390523"/>
                  </a:lnTo>
                  <a:lnTo>
                    <a:pt x="257032" y="1440703"/>
                  </a:lnTo>
                  <a:lnTo>
                    <a:pt x="264452" y="1491361"/>
                  </a:lnTo>
                  <a:lnTo>
                    <a:pt x="270644" y="1546004"/>
                  </a:lnTo>
                  <a:lnTo>
                    <a:pt x="274785" y="1600755"/>
                  </a:lnTo>
                  <a:lnTo>
                    <a:pt x="276223" y="1655577"/>
                  </a:lnTo>
                  <a:lnTo>
                    <a:pt x="274307" y="1710436"/>
                  </a:lnTo>
                  <a:lnTo>
                    <a:pt x="268584" y="1764015"/>
                  </a:lnTo>
                  <a:lnTo>
                    <a:pt x="258736" y="1816900"/>
                  </a:lnTo>
                  <a:lnTo>
                    <a:pt x="244476" y="1868700"/>
                  </a:lnTo>
                  <a:lnTo>
                    <a:pt x="225518" y="1919024"/>
                  </a:lnTo>
                  <a:lnTo>
                    <a:pt x="201574" y="1967484"/>
                  </a:lnTo>
                  <a:lnTo>
                    <a:pt x="160499" y="2030491"/>
                  </a:lnTo>
                  <a:lnTo>
                    <a:pt x="113118" y="2089403"/>
                  </a:lnTo>
                  <a:lnTo>
                    <a:pt x="84833" y="2124265"/>
                  </a:lnTo>
                  <a:lnTo>
                    <a:pt x="66009" y="2148840"/>
                  </a:lnTo>
                  <a:lnTo>
                    <a:pt x="45168" y="2171414"/>
                  </a:lnTo>
                  <a:lnTo>
                    <a:pt x="10830" y="2200275"/>
                  </a:lnTo>
                </a:path>
              </a:pathLst>
            </a:custGeom>
            <a:ln w="9525">
              <a:solidFill>
                <a:srgbClr val="E8E1E8"/>
              </a:solidFill>
              <a:prstDash val="sysDash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8663051" y="3281426"/>
              <a:ext cx="3524250" cy="3576954"/>
            </a:xfrm>
            <a:custGeom>
              <a:avLst/>
              <a:gdLst/>
              <a:ahLst/>
              <a:cxnLst/>
              <a:rect l="l" t="t" r="r" b="b"/>
              <a:pathLst>
                <a:path w="3524250" h="3576954">
                  <a:moveTo>
                    <a:pt x="0" y="3562286"/>
                  </a:moveTo>
                  <a:lnTo>
                    <a:pt x="32242" y="3515796"/>
                  </a:lnTo>
                  <a:lnTo>
                    <a:pt x="70866" y="3474346"/>
                  </a:lnTo>
                  <a:lnTo>
                    <a:pt x="107653" y="3439186"/>
                  </a:lnTo>
                  <a:lnTo>
                    <a:pt x="141684" y="3401386"/>
                  </a:lnTo>
                  <a:lnTo>
                    <a:pt x="173720" y="3361678"/>
                  </a:lnTo>
                  <a:lnTo>
                    <a:pt x="204517" y="3320793"/>
                  </a:lnTo>
                  <a:lnTo>
                    <a:pt x="234834" y="3279464"/>
                  </a:lnTo>
                  <a:lnTo>
                    <a:pt x="265429" y="3238423"/>
                  </a:lnTo>
                  <a:lnTo>
                    <a:pt x="298856" y="3195395"/>
                  </a:lnTo>
                  <a:lnTo>
                    <a:pt x="333200" y="3153108"/>
                  </a:lnTo>
                  <a:lnTo>
                    <a:pt x="368710" y="3111825"/>
                  </a:lnTo>
                  <a:lnTo>
                    <a:pt x="405638" y="3071812"/>
                  </a:lnTo>
                  <a:lnTo>
                    <a:pt x="441182" y="3036200"/>
                  </a:lnTo>
                  <a:lnTo>
                    <a:pt x="478059" y="3002070"/>
                  </a:lnTo>
                  <a:lnTo>
                    <a:pt x="516223" y="2969406"/>
                  </a:lnTo>
                  <a:lnTo>
                    <a:pt x="555625" y="2938195"/>
                  </a:lnTo>
                  <a:lnTo>
                    <a:pt x="599571" y="2905972"/>
                  </a:lnTo>
                  <a:lnTo>
                    <a:pt x="644473" y="2875099"/>
                  </a:lnTo>
                  <a:lnTo>
                    <a:pt x="690038" y="2845157"/>
                  </a:lnTo>
                  <a:lnTo>
                    <a:pt x="735974" y="2815723"/>
                  </a:lnTo>
                  <a:lnTo>
                    <a:pt x="781987" y="2786378"/>
                  </a:lnTo>
                  <a:lnTo>
                    <a:pt x="827785" y="2756700"/>
                  </a:lnTo>
                  <a:lnTo>
                    <a:pt x="872701" y="2726687"/>
                  </a:lnTo>
                  <a:lnTo>
                    <a:pt x="917299" y="2696159"/>
                  </a:lnTo>
                  <a:lnTo>
                    <a:pt x="961690" y="2665296"/>
                  </a:lnTo>
                  <a:lnTo>
                    <a:pt x="1005984" y="2634278"/>
                  </a:lnTo>
                  <a:lnTo>
                    <a:pt x="1050290" y="2603284"/>
                  </a:lnTo>
                  <a:lnTo>
                    <a:pt x="1088020" y="2577168"/>
                  </a:lnTo>
                  <a:lnTo>
                    <a:pt x="1126091" y="2551602"/>
                  </a:lnTo>
                  <a:lnTo>
                    <a:pt x="1164754" y="2527051"/>
                  </a:lnTo>
                  <a:lnTo>
                    <a:pt x="1204258" y="2503979"/>
                  </a:lnTo>
                  <a:lnTo>
                    <a:pt x="1244853" y="2482850"/>
                  </a:lnTo>
                  <a:lnTo>
                    <a:pt x="1289226" y="2463072"/>
                  </a:lnTo>
                  <a:lnTo>
                    <a:pt x="1334849" y="2447023"/>
                  </a:lnTo>
                  <a:lnTo>
                    <a:pt x="1381638" y="2436108"/>
                  </a:lnTo>
                  <a:lnTo>
                    <a:pt x="1429512" y="2431732"/>
                  </a:lnTo>
                  <a:lnTo>
                    <a:pt x="1464431" y="2432987"/>
                  </a:lnTo>
                  <a:lnTo>
                    <a:pt x="1499123" y="2437093"/>
                  </a:lnTo>
                  <a:lnTo>
                    <a:pt x="1533650" y="2443049"/>
                  </a:lnTo>
                  <a:lnTo>
                    <a:pt x="1568069" y="2449855"/>
                  </a:lnTo>
                  <a:lnTo>
                    <a:pt x="1597642" y="2455565"/>
                  </a:lnTo>
                  <a:lnTo>
                    <a:pt x="1657026" y="2465528"/>
                  </a:lnTo>
                  <a:lnTo>
                    <a:pt x="1713251" y="2472490"/>
                  </a:lnTo>
                  <a:lnTo>
                    <a:pt x="1739725" y="2473815"/>
                  </a:lnTo>
                  <a:lnTo>
                    <a:pt x="1766127" y="2473066"/>
                  </a:lnTo>
                  <a:lnTo>
                    <a:pt x="1835384" y="2456992"/>
                  </a:lnTo>
                  <a:lnTo>
                    <a:pt x="1875726" y="2437212"/>
                  </a:lnTo>
                  <a:lnTo>
                    <a:pt x="1913973" y="2412631"/>
                  </a:lnTo>
                  <a:lnTo>
                    <a:pt x="1950720" y="2385555"/>
                  </a:lnTo>
                  <a:lnTo>
                    <a:pt x="1991365" y="2353778"/>
                  </a:lnTo>
                  <a:lnTo>
                    <a:pt x="2032142" y="2322195"/>
                  </a:lnTo>
                  <a:lnTo>
                    <a:pt x="2074181" y="2292640"/>
                  </a:lnTo>
                  <a:lnTo>
                    <a:pt x="2118614" y="2266950"/>
                  </a:lnTo>
                  <a:lnTo>
                    <a:pt x="2163119" y="2247376"/>
                  </a:lnTo>
                  <a:lnTo>
                    <a:pt x="2225236" y="2224170"/>
                  </a:lnTo>
                  <a:lnTo>
                    <a:pt x="2272299" y="2207196"/>
                  </a:lnTo>
                  <a:lnTo>
                    <a:pt x="2319482" y="2190507"/>
                  </a:lnTo>
                  <a:lnTo>
                    <a:pt x="2366772" y="2173986"/>
                  </a:lnTo>
                  <a:lnTo>
                    <a:pt x="2397061" y="2163244"/>
                  </a:lnTo>
                  <a:lnTo>
                    <a:pt x="2457211" y="2140428"/>
                  </a:lnTo>
                  <a:lnTo>
                    <a:pt x="2512891" y="2115290"/>
                  </a:lnTo>
                  <a:lnTo>
                    <a:pt x="2563100" y="2086735"/>
                  </a:lnTo>
                  <a:lnTo>
                    <a:pt x="2611272" y="2051827"/>
                  </a:lnTo>
                  <a:lnTo>
                    <a:pt x="2656266" y="2010330"/>
                  </a:lnTo>
                  <a:lnTo>
                    <a:pt x="2691897" y="1969547"/>
                  </a:lnTo>
                  <a:lnTo>
                    <a:pt x="2720072" y="1931670"/>
                  </a:lnTo>
                  <a:lnTo>
                    <a:pt x="2753423" y="1881455"/>
                  </a:lnTo>
                  <a:lnTo>
                    <a:pt x="2773235" y="1850691"/>
                  </a:lnTo>
                  <a:lnTo>
                    <a:pt x="2793428" y="1820189"/>
                  </a:lnTo>
                  <a:lnTo>
                    <a:pt x="2839509" y="1758505"/>
                  </a:lnTo>
                  <a:lnTo>
                    <a:pt x="2866040" y="1728025"/>
                  </a:lnTo>
                  <a:lnTo>
                    <a:pt x="2894048" y="1698879"/>
                  </a:lnTo>
                  <a:lnTo>
                    <a:pt x="2923413" y="1671066"/>
                  </a:lnTo>
                  <a:lnTo>
                    <a:pt x="2974816" y="1626584"/>
                  </a:lnTo>
                  <a:lnTo>
                    <a:pt x="3000422" y="1604271"/>
                  </a:lnTo>
                  <a:lnTo>
                    <a:pt x="3044130" y="1561849"/>
                  </a:lnTo>
                  <a:lnTo>
                    <a:pt x="3079095" y="1520821"/>
                  </a:lnTo>
                  <a:lnTo>
                    <a:pt x="3113609" y="1472114"/>
                  </a:lnTo>
                  <a:lnTo>
                    <a:pt x="3145911" y="1415206"/>
                  </a:lnTo>
                  <a:lnTo>
                    <a:pt x="3174492" y="1347418"/>
                  </a:lnTo>
                  <a:lnTo>
                    <a:pt x="3186779" y="1308512"/>
                  </a:lnTo>
                  <a:lnTo>
                    <a:pt x="3196637" y="1268892"/>
                  </a:lnTo>
                  <a:lnTo>
                    <a:pt x="3204209" y="1228725"/>
                  </a:lnTo>
                  <a:lnTo>
                    <a:pt x="3210764" y="1173253"/>
                  </a:lnTo>
                  <a:lnTo>
                    <a:pt x="3212083" y="1154684"/>
                  </a:lnTo>
                  <a:lnTo>
                    <a:pt x="3218931" y="1108666"/>
                  </a:lnTo>
                  <a:lnTo>
                    <a:pt x="3232189" y="1062628"/>
                  </a:lnTo>
                  <a:lnTo>
                    <a:pt x="3249651" y="1016572"/>
                  </a:lnTo>
                  <a:lnTo>
                    <a:pt x="3269106" y="970502"/>
                  </a:lnTo>
                  <a:lnTo>
                    <a:pt x="3288348" y="924419"/>
                  </a:lnTo>
                  <a:lnTo>
                    <a:pt x="3305167" y="878328"/>
                  </a:lnTo>
                  <a:lnTo>
                    <a:pt x="3317354" y="832230"/>
                  </a:lnTo>
                  <a:lnTo>
                    <a:pt x="3322701" y="786130"/>
                  </a:lnTo>
                  <a:lnTo>
                    <a:pt x="3324831" y="732733"/>
                  </a:lnTo>
                  <a:lnTo>
                    <a:pt x="3328343" y="679432"/>
                  </a:lnTo>
                  <a:lnTo>
                    <a:pt x="3333001" y="626213"/>
                  </a:lnTo>
                  <a:lnTo>
                    <a:pt x="3338570" y="573063"/>
                  </a:lnTo>
                  <a:lnTo>
                    <a:pt x="3344814" y="519968"/>
                  </a:lnTo>
                  <a:lnTo>
                    <a:pt x="3351499" y="466916"/>
                  </a:lnTo>
                  <a:lnTo>
                    <a:pt x="3358388" y="413893"/>
                  </a:lnTo>
                  <a:lnTo>
                    <a:pt x="3367236" y="375854"/>
                  </a:lnTo>
                  <a:lnTo>
                    <a:pt x="3383468" y="331872"/>
                  </a:lnTo>
                  <a:lnTo>
                    <a:pt x="3404945" y="283642"/>
                  </a:lnTo>
                  <a:lnTo>
                    <a:pt x="3429529" y="232860"/>
                  </a:lnTo>
                  <a:lnTo>
                    <a:pt x="3455083" y="181220"/>
                  </a:lnTo>
                  <a:lnTo>
                    <a:pt x="3479470" y="130419"/>
                  </a:lnTo>
                  <a:lnTo>
                    <a:pt x="3500552" y="82152"/>
                  </a:lnTo>
                  <a:lnTo>
                    <a:pt x="3516191" y="38113"/>
                  </a:lnTo>
                  <a:lnTo>
                    <a:pt x="3524250" y="0"/>
                  </a:lnTo>
                </a:path>
                <a:path w="3524250" h="3576954">
                  <a:moveTo>
                    <a:pt x="259498" y="3576572"/>
                  </a:moveTo>
                  <a:lnTo>
                    <a:pt x="304688" y="3487859"/>
                  </a:lnTo>
                  <a:lnTo>
                    <a:pt x="352276" y="3404105"/>
                  </a:lnTo>
                  <a:lnTo>
                    <a:pt x="405256" y="3325088"/>
                  </a:lnTo>
                  <a:lnTo>
                    <a:pt x="438206" y="3281261"/>
                  </a:lnTo>
                  <a:lnTo>
                    <a:pt x="470817" y="3237182"/>
                  </a:lnTo>
                  <a:lnTo>
                    <a:pt x="503745" y="3193422"/>
                  </a:lnTo>
                  <a:lnTo>
                    <a:pt x="537647" y="3150552"/>
                  </a:lnTo>
                  <a:lnTo>
                    <a:pt x="573179" y="3109144"/>
                  </a:lnTo>
                  <a:lnTo>
                    <a:pt x="610997" y="3069767"/>
                  </a:lnTo>
                  <a:lnTo>
                    <a:pt x="648493" y="3035373"/>
                  </a:lnTo>
                  <a:lnTo>
                    <a:pt x="687642" y="3002901"/>
                  </a:lnTo>
                  <a:lnTo>
                    <a:pt x="727930" y="2971752"/>
                  </a:lnTo>
                  <a:lnTo>
                    <a:pt x="768846" y="2941328"/>
                  </a:lnTo>
                  <a:lnTo>
                    <a:pt x="809878" y="2911030"/>
                  </a:lnTo>
                  <a:lnTo>
                    <a:pt x="855267" y="2877014"/>
                  </a:lnTo>
                  <a:lnTo>
                    <a:pt x="900477" y="2842750"/>
                  </a:lnTo>
                  <a:lnTo>
                    <a:pt x="945663" y="2808469"/>
                  </a:lnTo>
                  <a:lnTo>
                    <a:pt x="990980" y="2774403"/>
                  </a:lnTo>
                  <a:lnTo>
                    <a:pt x="1029103" y="2746134"/>
                  </a:lnTo>
                  <a:lnTo>
                    <a:pt x="1067529" y="2718268"/>
                  </a:lnTo>
                  <a:lnTo>
                    <a:pt x="1106455" y="2691185"/>
                  </a:lnTo>
                  <a:lnTo>
                    <a:pt x="1146080" y="2665261"/>
                  </a:lnTo>
                  <a:lnTo>
                    <a:pt x="1186602" y="2640872"/>
                  </a:lnTo>
                  <a:lnTo>
                    <a:pt x="1228217" y="2618397"/>
                  </a:lnTo>
                  <a:lnTo>
                    <a:pt x="1265096" y="2601377"/>
                  </a:lnTo>
                  <a:lnTo>
                    <a:pt x="1327697" y="2578778"/>
                  </a:lnTo>
                  <a:lnTo>
                    <a:pt x="1378870" y="2565473"/>
                  </a:lnTo>
                  <a:lnTo>
                    <a:pt x="1430853" y="2557563"/>
                  </a:lnTo>
                  <a:lnTo>
                    <a:pt x="1483359" y="2556243"/>
                  </a:lnTo>
                  <a:lnTo>
                    <a:pt x="1508228" y="2558114"/>
                  </a:lnTo>
                  <a:lnTo>
                    <a:pt x="1532953" y="2561301"/>
                  </a:lnTo>
                  <a:lnTo>
                    <a:pt x="1557583" y="2565415"/>
                  </a:lnTo>
                  <a:lnTo>
                    <a:pt x="1582166" y="2570073"/>
                  </a:lnTo>
                  <a:lnTo>
                    <a:pt x="1600285" y="2573485"/>
                  </a:lnTo>
                  <a:lnTo>
                    <a:pt x="1654809" y="2582456"/>
                  </a:lnTo>
                  <a:lnTo>
                    <a:pt x="1708925" y="2588978"/>
                  </a:lnTo>
                  <a:lnTo>
                    <a:pt x="1763220" y="2591904"/>
                  </a:lnTo>
                  <a:lnTo>
                    <a:pt x="1817348" y="2590107"/>
                  </a:lnTo>
                  <a:lnTo>
                    <a:pt x="1870964" y="2582456"/>
                  </a:lnTo>
                  <a:lnTo>
                    <a:pt x="1915221" y="2570807"/>
                  </a:lnTo>
                  <a:lnTo>
                    <a:pt x="1957943" y="2554578"/>
                  </a:lnTo>
                  <a:lnTo>
                    <a:pt x="1998926" y="2534183"/>
                  </a:lnTo>
                  <a:lnTo>
                    <a:pt x="2037969" y="2510040"/>
                  </a:lnTo>
                  <a:lnTo>
                    <a:pt x="2088816" y="2471991"/>
                  </a:lnTo>
                  <a:lnTo>
                    <a:pt x="2137664" y="2431313"/>
                  </a:lnTo>
                  <a:lnTo>
                    <a:pt x="2173505" y="2401619"/>
                  </a:lnTo>
                  <a:lnTo>
                    <a:pt x="2210029" y="2372803"/>
                  </a:lnTo>
                  <a:lnTo>
                    <a:pt x="2247492" y="2345357"/>
                  </a:lnTo>
                  <a:lnTo>
                    <a:pt x="2286150" y="2319773"/>
                  </a:lnTo>
                  <a:lnTo>
                    <a:pt x="2326258" y="2296541"/>
                  </a:lnTo>
                  <a:lnTo>
                    <a:pt x="2367381" y="2276238"/>
                  </a:lnTo>
                  <a:lnTo>
                    <a:pt x="2409540" y="2258142"/>
                  </a:lnTo>
                  <a:lnTo>
                    <a:pt x="2452309" y="2241320"/>
                  </a:lnTo>
                  <a:lnTo>
                    <a:pt x="2495260" y="2224839"/>
                  </a:lnTo>
                  <a:lnTo>
                    <a:pt x="2537968" y="2207768"/>
                  </a:lnTo>
                  <a:lnTo>
                    <a:pt x="2606436" y="2176446"/>
                  </a:lnTo>
                  <a:lnTo>
                    <a:pt x="2672333" y="2140077"/>
                  </a:lnTo>
                  <a:lnTo>
                    <a:pt x="2714642" y="2112605"/>
                  </a:lnTo>
                  <a:lnTo>
                    <a:pt x="2755058" y="2082514"/>
                  </a:lnTo>
                  <a:lnTo>
                    <a:pt x="2793259" y="2049708"/>
                  </a:lnTo>
                  <a:lnTo>
                    <a:pt x="2828925" y="2014093"/>
                  </a:lnTo>
                  <a:lnTo>
                    <a:pt x="2859897" y="1978364"/>
                  </a:lnTo>
                  <a:lnTo>
                    <a:pt x="2889154" y="1941147"/>
                  </a:lnTo>
                  <a:lnTo>
                    <a:pt x="2917793" y="1903382"/>
                  </a:lnTo>
                  <a:lnTo>
                    <a:pt x="2946907" y="1866011"/>
                  </a:lnTo>
                  <a:lnTo>
                    <a:pt x="2975619" y="1831562"/>
                  </a:lnTo>
                  <a:lnTo>
                    <a:pt x="3005248" y="1797875"/>
                  </a:lnTo>
                  <a:lnTo>
                    <a:pt x="3035329" y="1764569"/>
                  </a:lnTo>
                  <a:lnTo>
                    <a:pt x="3065399" y="1731264"/>
                  </a:lnTo>
                  <a:lnTo>
                    <a:pt x="3112277" y="1677654"/>
                  </a:lnTo>
                  <a:lnTo>
                    <a:pt x="3158490" y="1623568"/>
                  </a:lnTo>
                  <a:lnTo>
                    <a:pt x="3197685" y="1576609"/>
                  </a:lnTo>
                  <a:lnTo>
                    <a:pt x="3233547" y="1527175"/>
                  </a:lnTo>
                  <a:lnTo>
                    <a:pt x="3268138" y="1462897"/>
                  </a:lnTo>
                  <a:lnTo>
                    <a:pt x="3295777" y="1395095"/>
                  </a:lnTo>
                  <a:lnTo>
                    <a:pt x="3311189" y="1351299"/>
                  </a:lnTo>
                  <a:lnTo>
                    <a:pt x="3324780" y="1306957"/>
                  </a:lnTo>
                  <a:lnTo>
                    <a:pt x="3336157" y="1262042"/>
                  </a:lnTo>
                  <a:lnTo>
                    <a:pt x="3344926" y="1216533"/>
                  </a:lnTo>
                  <a:lnTo>
                    <a:pt x="3358038" y="1181540"/>
                  </a:lnTo>
                  <a:lnTo>
                    <a:pt x="3384542" y="1137096"/>
                  </a:lnTo>
                  <a:lnTo>
                    <a:pt x="3418904" y="1086964"/>
                  </a:lnTo>
                  <a:lnTo>
                    <a:pt x="3455590" y="1034910"/>
                  </a:lnTo>
                  <a:lnTo>
                    <a:pt x="3489065" y="984700"/>
                  </a:lnTo>
                  <a:lnTo>
                    <a:pt x="3513796" y="940100"/>
                  </a:lnTo>
                  <a:lnTo>
                    <a:pt x="3524250" y="904875"/>
                  </a:lnTo>
                </a:path>
              </a:pathLst>
            </a:custGeom>
            <a:ln w="9525">
              <a:solidFill>
                <a:srgbClr val="E8E1E8"/>
              </a:solidFill>
              <a:prstDash val="sysDash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11597189" y="6519862"/>
              <a:ext cx="594995" cy="338455"/>
            </a:xfrm>
            <a:custGeom>
              <a:avLst/>
              <a:gdLst/>
              <a:ahLst/>
              <a:cxnLst/>
              <a:rect l="l" t="t" r="r" b="b"/>
              <a:pathLst>
                <a:path w="594995" h="338454">
                  <a:moveTo>
                    <a:pt x="349555" y="338135"/>
                  </a:moveTo>
                  <a:lnTo>
                    <a:pt x="377091" y="319639"/>
                  </a:lnTo>
                  <a:lnTo>
                    <a:pt x="456238" y="265790"/>
                  </a:lnTo>
                  <a:lnTo>
                    <a:pt x="542790" y="205252"/>
                  </a:lnTo>
                  <a:lnTo>
                    <a:pt x="594811" y="165603"/>
                  </a:lnTo>
                </a:path>
                <a:path w="594995" h="338454">
                  <a:moveTo>
                    <a:pt x="0" y="338135"/>
                  </a:moveTo>
                  <a:lnTo>
                    <a:pt x="56551" y="311094"/>
                  </a:lnTo>
                  <a:lnTo>
                    <a:pt x="215827" y="229509"/>
                  </a:lnTo>
                  <a:lnTo>
                    <a:pt x="407464" y="118895"/>
                  </a:lnTo>
                  <a:lnTo>
                    <a:pt x="571062" y="0"/>
                  </a:lnTo>
                </a:path>
              </a:pathLst>
            </a:custGeom>
            <a:ln w="9525">
              <a:solidFill>
                <a:srgbClr val="E8E1E8"/>
              </a:solidFill>
              <a:prstDash val="sysDash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9199056" y="4672076"/>
              <a:ext cx="2993390" cy="2186305"/>
            </a:xfrm>
            <a:custGeom>
              <a:avLst/>
              <a:gdLst/>
              <a:ahLst/>
              <a:cxnLst/>
              <a:rect l="l" t="t" r="r" b="b"/>
              <a:pathLst>
                <a:path w="2993390" h="2186304">
                  <a:moveTo>
                    <a:pt x="397444" y="2171636"/>
                  </a:moveTo>
                  <a:lnTo>
                    <a:pt x="452610" y="2116367"/>
                  </a:lnTo>
                  <a:lnTo>
                    <a:pt x="510012" y="2061124"/>
                  </a:lnTo>
                  <a:lnTo>
                    <a:pt x="577022" y="1999780"/>
                  </a:lnTo>
                  <a:lnTo>
                    <a:pt x="614605" y="1967449"/>
                  </a:lnTo>
                  <a:lnTo>
                    <a:pt x="652956" y="1936674"/>
                  </a:lnTo>
                  <a:lnTo>
                    <a:pt x="692264" y="1908074"/>
                  </a:lnTo>
                  <a:lnTo>
                    <a:pt x="732718" y="1882264"/>
                  </a:lnTo>
                  <a:lnTo>
                    <a:pt x="774507" y="1859864"/>
                  </a:lnTo>
                  <a:lnTo>
                    <a:pt x="818681" y="1840911"/>
                  </a:lnTo>
                  <a:lnTo>
                    <a:pt x="863667" y="1825601"/>
                  </a:lnTo>
                  <a:lnTo>
                    <a:pt x="909285" y="1813085"/>
                  </a:lnTo>
                  <a:lnTo>
                    <a:pt x="955351" y="1802511"/>
                  </a:lnTo>
                  <a:lnTo>
                    <a:pt x="1001684" y="1793028"/>
                  </a:lnTo>
                  <a:lnTo>
                    <a:pt x="1048101" y="1783787"/>
                  </a:lnTo>
                  <a:lnTo>
                    <a:pt x="1094420" y="1773936"/>
                  </a:lnTo>
                  <a:lnTo>
                    <a:pt x="1142494" y="1762391"/>
                  </a:lnTo>
                  <a:lnTo>
                    <a:pt x="1190489" y="1750298"/>
                  </a:lnTo>
                  <a:lnTo>
                    <a:pt x="1238539" y="1738825"/>
                  </a:lnTo>
                  <a:lnTo>
                    <a:pt x="1286777" y="1729140"/>
                  </a:lnTo>
                  <a:lnTo>
                    <a:pt x="1335339" y="1722412"/>
                  </a:lnTo>
                  <a:lnTo>
                    <a:pt x="1381615" y="1719364"/>
                  </a:lnTo>
                  <a:lnTo>
                    <a:pt x="1427903" y="1719338"/>
                  </a:lnTo>
                  <a:lnTo>
                    <a:pt x="1474154" y="1722062"/>
                  </a:lnTo>
                  <a:lnTo>
                    <a:pt x="1520320" y="1727266"/>
                  </a:lnTo>
                  <a:lnTo>
                    <a:pt x="1566352" y="1734680"/>
                  </a:lnTo>
                  <a:lnTo>
                    <a:pt x="1604782" y="1741983"/>
                  </a:lnTo>
                  <a:lnTo>
                    <a:pt x="1643187" y="1749113"/>
                  </a:lnTo>
                  <a:lnTo>
                    <a:pt x="1681688" y="1755157"/>
                  </a:lnTo>
                  <a:lnTo>
                    <a:pt x="1720403" y="1759204"/>
                  </a:lnTo>
                  <a:lnTo>
                    <a:pt x="1766361" y="1760075"/>
                  </a:lnTo>
                  <a:lnTo>
                    <a:pt x="1812097" y="1756414"/>
                  </a:lnTo>
                  <a:lnTo>
                    <a:pt x="1857516" y="1748659"/>
                  </a:lnTo>
                  <a:lnTo>
                    <a:pt x="1902521" y="1737249"/>
                  </a:lnTo>
                  <a:lnTo>
                    <a:pt x="1947019" y="1722622"/>
                  </a:lnTo>
                  <a:lnTo>
                    <a:pt x="1990913" y="1705216"/>
                  </a:lnTo>
                  <a:lnTo>
                    <a:pt x="2035480" y="1684590"/>
                  </a:lnTo>
                  <a:lnTo>
                    <a:pt x="2079222" y="1661557"/>
                  </a:lnTo>
                  <a:lnTo>
                    <a:pt x="2122306" y="1636589"/>
                  </a:lnTo>
                  <a:lnTo>
                    <a:pt x="2164897" y="1610160"/>
                  </a:lnTo>
                  <a:lnTo>
                    <a:pt x="2207162" y="1582743"/>
                  </a:lnTo>
                  <a:lnTo>
                    <a:pt x="2249268" y="1554813"/>
                  </a:lnTo>
                  <a:lnTo>
                    <a:pt x="2291379" y="1526844"/>
                  </a:lnTo>
                  <a:lnTo>
                    <a:pt x="2333663" y="1499308"/>
                  </a:lnTo>
                  <a:lnTo>
                    <a:pt x="2376285" y="1472679"/>
                  </a:lnTo>
                  <a:lnTo>
                    <a:pt x="2419411" y="1447431"/>
                  </a:lnTo>
                  <a:lnTo>
                    <a:pt x="2467917" y="1420826"/>
                  </a:lnTo>
                  <a:lnTo>
                    <a:pt x="2516435" y="1394375"/>
                  </a:lnTo>
                  <a:lnTo>
                    <a:pt x="2564398" y="1366741"/>
                  </a:lnTo>
                  <a:lnTo>
                    <a:pt x="2611240" y="1336586"/>
                  </a:lnTo>
                  <a:lnTo>
                    <a:pt x="2656393" y="1302575"/>
                  </a:lnTo>
                  <a:lnTo>
                    <a:pt x="2687719" y="1274482"/>
                  </a:lnTo>
                  <a:lnTo>
                    <a:pt x="2719921" y="1241346"/>
                  </a:lnTo>
                  <a:lnTo>
                    <a:pt x="2752536" y="1203887"/>
                  </a:lnTo>
                  <a:lnTo>
                    <a:pt x="2785101" y="1162821"/>
                  </a:lnTo>
                  <a:lnTo>
                    <a:pt x="2817152" y="1118866"/>
                  </a:lnTo>
                  <a:lnTo>
                    <a:pt x="2848227" y="1072740"/>
                  </a:lnTo>
                  <a:lnTo>
                    <a:pt x="2877862" y="1025160"/>
                  </a:lnTo>
                  <a:lnTo>
                    <a:pt x="2905595" y="976844"/>
                  </a:lnTo>
                  <a:lnTo>
                    <a:pt x="2930963" y="928510"/>
                  </a:lnTo>
                  <a:lnTo>
                    <a:pt x="2953503" y="880876"/>
                  </a:lnTo>
                  <a:lnTo>
                    <a:pt x="2972751" y="834658"/>
                  </a:lnTo>
                  <a:lnTo>
                    <a:pt x="2988244" y="790575"/>
                  </a:lnTo>
                </a:path>
                <a:path w="2993390" h="2186304">
                  <a:moveTo>
                    <a:pt x="181276" y="2185922"/>
                  </a:moveTo>
                  <a:lnTo>
                    <a:pt x="231233" y="2108838"/>
                  </a:lnTo>
                  <a:lnTo>
                    <a:pt x="288419" y="2031977"/>
                  </a:lnTo>
                  <a:lnTo>
                    <a:pt x="358201" y="1953780"/>
                  </a:lnTo>
                  <a:lnTo>
                    <a:pt x="397053" y="1917002"/>
                  </a:lnTo>
                  <a:lnTo>
                    <a:pt x="437509" y="1882095"/>
                  </a:lnTo>
                  <a:lnTo>
                    <a:pt x="479556" y="1849250"/>
                  </a:lnTo>
                  <a:lnTo>
                    <a:pt x="523180" y="1818662"/>
                  </a:lnTo>
                  <a:lnTo>
                    <a:pt x="568368" y="1790525"/>
                  </a:lnTo>
                  <a:lnTo>
                    <a:pt x="615106" y="1765032"/>
                  </a:lnTo>
                  <a:lnTo>
                    <a:pt x="663382" y="1742376"/>
                  </a:lnTo>
                  <a:lnTo>
                    <a:pt x="707648" y="1724798"/>
                  </a:lnTo>
                  <a:lnTo>
                    <a:pt x="752720" y="1709692"/>
                  </a:lnTo>
                  <a:lnTo>
                    <a:pt x="798456" y="1696647"/>
                  </a:lnTo>
                  <a:lnTo>
                    <a:pt x="844714" y="1685250"/>
                  </a:lnTo>
                  <a:lnTo>
                    <a:pt x="891353" y="1675089"/>
                  </a:lnTo>
                  <a:lnTo>
                    <a:pt x="938229" y="1665753"/>
                  </a:lnTo>
                  <a:lnTo>
                    <a:pt x="985200" y="1656829"/>
                  </a:lnTo>
                  <a:lnTo>
                    <a:pt x="1032357" y="1648001"/>
                  </a:lnTo>
                  <a:lnTo>
                    <a:pt x="1079539" y="1639305"/>
                  </a:lnTo>
                  <a:lnTo>
                    <a:pt x="1126760" y="1630834"/>
                  </a:lnTo>
                  <a:lnTo>
                    <a:pt x="1174033" y="1622680"/>
                  </a:lnTo>
                  <a:lnTo>
                    <a:pt x="1221372" y="1614937"/>
                  </a:lnTo>
                  <a:lnTo>
                    <a:pt x="1268789" y="1607696"/>
                  </a:lnTo>
                  <a:lnTo>
                    <a:pt x="1316299" y="1601051"/>
                  </a:lnTo>
                  <a:lnTo>
                    <a:pt x="1363914" y="1595094"/>
                  </a:lnTo>
                  <a:lnTo>
                    <a:pt x="1417331" y="1589363"/>
                  </a:lnTo>
                  <a:lnTo>
                    <a:pt x="1470825" y="1584189"/>
                  </a:lnTo>
                  <a:lnTo>
                    <a:pt x="1524283" y="1578852"/>
                  </a:lnTo>
                  <a:lnTo>
                    <a:pt x="1577594" y="1572637"/>
                  </a:lnTo>
                  <a:lnTo>
                    <a:pt x="1630644" y="1564824"/>
                  </a:lnTo>
                  <a:lnTo>
                    <a:pt x="1683319" y="1554695"/>
                  </a:lnTo>
                  <a:lnTo>
                    <a:pt x="1731421" y="1542980"/>
                  </a:lnTo>
                  <a:lnTo>
                    <a:pt x="1779040" y="1529429"/>
                  </a:lnTo>
                  <a:lnTo>
                    <a:pt x="1826305" y="1514541"/>
                  </a:lnTo>
                  <a:lnTo>
                    <a:pt x="1873349" y="1498817"/>
                  </a:lnTo>
                  <a:lnTo>
                    <a:pt x="1920301" y="1482758"/>
                  </a:lnTo>
                  <a:lnTo>
                    <a:pt x="1967291" y="1466862"/>
                  </a:lnTo>
                  <a:lnTo>
                    <a:pt x="2015604" y="1451222"/>
                  </a:lnTo>
                  <a:lnTo>
                    <a:pt x="2064157" y="1436298"/>
                  </a:lnTo>
                  <a:lnTo>
                    <a:pt x="2112879" y="1421872"/>
                  </a:lnTo>
                  <a:lnTo>
                    <a:pt x="2161698" y="1407722"/>
                  </a:lnTo>
                  <a:lnTo>
                    <a:pt x="2210544" y="1393629"/>
                  </a:lnTo>
                  <a:lnTo>
                    <a:pt x="2259346" y="1379371"/>
                  </a:lnTo>
                  <a:lnTo>
                    <a:pt x="2308032" y="1364729"/>
                  </a:lnTo>
                  <a:lnTo>
                    <a:pt x="2350841" y="1351389"/>
                  </a:lnTo>
                  <a:lnTo>
                    <a:pt x="2393329" y="1337148"/>
                  </a:lnTo>
                  <a:lnTo>
                    <a:pt x="2435173" y="1321263"/>
                  </a:lnTo>
                  <a:lnTo>
                    <a:pt x="2476053" y="1302994"/>
                  </a:lnTo>
                  <a:lnTo>
                    <a:pt x="2519660" y="1279481"/>
                  </a:lnTo>
                  <a:lnTo>
                    <a:pt x="2561064" y="1252470"/>
                  </a:lnTo>
                  <a:lnTo>
                    <a:pt x="2599586" y="1221616"/>
                  </a:lnTo>
                  <a:lnTo>
                    <a:pt x="2634549" y="1186573"/>
                  </a:lnTo>
                  <a:lnTo>
                    <a:pt x="2667870" y="1144135"/>
                  </a:lnTo>
                  <a:lnTo>
                    <a:pt x="2696838" y="1098678"/>
                  </a:lnTo>
                  <a:lnTo>
                    <a:pt x="2722862" y="1051165"/>
                  </a:lnTo>
                  <a:lnTo>
                    <a:pt x="2747350" y="1002562"/>
                  </a:lnTo>
                  <a:lnTo>
                    <a:pt x="2771709" y="953833"/>
                  </a:lnTo>
                  <a:lnTo>
                    <a:pt x="2806822" y="881142"/>
                  </a:lnTo>
                  <a:lnTo>
                    <a:pt x="2828349" y="834514"/>
                  </a:lnTo>
                  <a:lnTo>
                    <a:pt x="2851532" y="783385"/>
                  </a:lnTo>
                  <a:lnTo>
                    <a:pt x="2875629" y="729519"/>
                  </a:lnTo>
                  <a:lnTo>
                    <a:pt x="2899895" y="674681"/>
                  </a:lnTo>
                  <a:lnTo>
                    <a:pt x="2923589" y="620635"/>
                  </a:lnTo>
                  <a:lnTo>
                    <a:pt x="2945966" y="569147"/>
                  </a:lnTo>
                  <a:lnTo>
                    <a:pt x="2966284" y="521981"/>
                  </a:lnTo>
                  <a:lnTo>
                    <a:pt x="2983799" y="480902"/>
                  </a:lnTo>
                  <a:lnTo>
                    <a:pt x="2992943" y="459153"/>
                  </a:lnTo>
                </a:path>
                <a:path w="2993390" h="2186304">
                  <a:moveTo>
                    <a:pt x="0" y="2185922"/>
                  </a:moveTo>
                  <a:lnTo>
                    <a:pt x="31017" y="2131745"/>
                  </a:lnTo>
                  <a:lnTo>
                    <a:pt x="68010" y="2073038"/>
                  </a:lnTo>
                  <a:lnTo>
                    <a:pt x="113980" y="2008149"/>
                  </a:lnTo>
                  <a:lnTo>
                    <a:pt x="144184" y="1970362"/>
                  </a:lnTo>
                  <a:lnTo>
                    <a:pt x="175966" y="1933979"/>
                  </a:lnTo>
                  <a:lnTo>
                    <a:pt x="209097" y="1898804"/>
                  </a:lnTo>
                  <a:lnTo>
                    <a:pt x="243346" y="1864645"/>
                  </a:lnTo>
                  <a:lnTo>
                    <a:pt x="278481" y="1831308"/>
                  </a:lnTo>
                  <a:lnTo>
                    <a:pt x="314273" y="1798598"/>
                  </a:lnTo>
                  <a:lnTo>
                    <a:pt x="350491" y="1766322"/>
                  </a:lnTo>
                  <a:lnTo>
                    <a:pt x="386903" y="1734286"/>
                  </a:lnTo>
                  <a:lnTo>
                    <a:pt x="428119" y="1698445"/>
                  </a:lnTo>
                  <a:lnTo>
                    <a:pt x="470036" y="1663475"/>
                  </a:lnTo>
                  <a:lnTo>
                    <a:pt x="513125" y="1630349"/>
                  </a:lnTo>
                  <a:lnTo>
                    <a:pt x="557855" y="1600039"/>
                  </a:lnTo>
                  <a:lnTo>
                    <a:pt x="604693" y="1573515"/>
                  </a:lnTo>
                  <a:lnTo>
                    <a:pt x="654111" y="1551749"/>
                  </a:lnTo>
                  <a:lnTo>
                    <a:pt x="704968" y="1535764"/>
                  </a:lnTo>
                  <a:lnTo>
                    <a:pt x="757020" y="1524557"/>
                  </a:lnTo>
                  <a:lnTo>
                    <a:pt x="809907" y="1516712"/>
                  </a:lnTo>
                  <a:lnTo>
                    <a:pt x="863269" y="1510817"/>
                  </a:lnTo>
                  <a:lnTo>
                    <a:pt x="916747" y="1505458"/>
                  </a:lnTo>
                  <a:lnTo>
                    <a:pt x="962288" y="1500502"/>
                  </a:lnTo>
                  <a:lnTo>
                    <a:pt x="1007793" y="1495243"/>
                  </a:lnTo>
                  <a:lnTo>
                    <a:pt x="1053285" y="1489850"/>
                  </a:lnTo>
                  <a:lnTo>
                    <a:pt x="1098790" y="1484490"/>
                  </a:lnTo>
                  <a:lnTo>
                    <a:pt x="1144331" y="1479334"/>
                  </a:lnTo>
                  <a:lnTo>
                    <a:pt x="1185495" y="1474938"/>
                  </a:lnTo>
                  <a:lnTo>
                    <a:pt x="1226659" y="1470542"/>
                  </a:lnTo>
                  <a:lnTo>
                    <a:pt x="1267775" y="1465732"/>
                  </a:lnTo>
                  <a:lnTo>
                    <a:pt x="1308796" y="1460093"/>
                  </a:lnTo>
                  <a:lnTo>
                    <a:pt x="1357695" y="1451850"/>
                  </a:lnTo>
                  <a:lnTo>
                    <a:pt x="1406261" y="1442061"/>
                  </a:lnTo>
                  <a:lnTo>
                    <a:pt x="1454457" y="1430737"/>
                  </a:lnTo>
                  <a:lnTo>
                    <a:pt x="1502249" y="1417886"/>
                  </a:lnTo>
                  <a:lnTo>
                    <a:pt x="1549600" y="1403520"/>
                  </a:lnTo>
                  <a:lnTo>
                    <a:pt x="1596475" y="1387647"/>
                  </a:lnTo>
                  <a:lnTo>
                    <a:pt x="1642838" y="1370276"/>
                  </a:lnTo>
                  <a:lnTo>
                    <a:pt x="1688653" y="1351419"/>
                  </a:lnTo>
                  <a:lnTo>
                    <a:pt x="1738287" y="1329175"/>
                  </a:lnTo>
                  <a:lnTo>
                    <a:pt x="1787398" y="1305771"/>
                  </a:lnTo>
                  <a:lnTo>
                    <a:pt x="1836227" y="1281734"/>
                  </a:lnTo>
                  <a:lnTo>
                    <a:pt x="1885014" y="1257592"/>
                  </a:lnTo>
                  <a:lnTo>
                    <a:pt x="1933998" y="1233870"/>
                  </a:lnTo>
                  <a:lnTo>
                    <a:pt x="1983420" y="1211097"/>
                  </a:lnTo>
                  <a:lnTo>
                    <a:pt x="2033622" y="1189573"/>
                  </a:lnTo>
                  <a:lnTo>
                    <a:pt x="2084226" y="1169001"/>
                  </a:lnTo>
                  <a:lnTo>
                    <a:pt x="2134964" y="1148739"/>
                  </a:lnTo>
                  <a:lnTo>
                    <a:pt x="2185568" y="1128149"/>
                  </a:lnTo>
                  <a:lnTo>
                    <a:pt x="2235769" y="1106589"/>
                  </a:lnTo>
                  <a:lnTo>
                    <a:pt x="2281842" y="1085117"/>
                  </a:lnTo>
                  <a:lnTo>
                    <a:pt x="2327073" y="1061992"/>
                  </a:lnTo>
                  <a:lnTo>
                    <a:pt x="2371201" y="1036950"/>
                  </a:lnTo>
                  <a:lnTo>
                    <a:pt x="2413963" y="1009723"/>
                  </a:lnTo>
                  <a:lnTo>
                    <a:pt x="2455098" y="980046"/>
                  </a:lnTo>
                  <a:lnTo>
                    <a:pt x="2498282" y="944401"/>
                  </a:lnTo>
                  <a:lnTo>
                    <a:pt x="2538918" y="905956"/>
                  </a:lnTo>
                  <a:lnTo>
                    <a:pt x="2577078" y="864997"/>
                  </a:lnTo>
                  <a:lnTo>
                    <a:pt x="2612832" y="821817"/>
                  </a:lnTo>
                  <a:lnTo>
                    <a:pt x="2642160" y="782445"/>
                  </a:lnTo>
                  <a:lnTo>
                    <a:pt x="2669726" y="741849"/>
                  </a:lnTo>
                  <a:lnTo>
                    <a:pt x="2695659" y="700174"/>
                  </a:lnTo>
                  <a:lnTo>
                    <a:pt x="2720085" y="657566"/>
                  </a:lnTo>
                  <a:lnTo>
                    <a:pt x="2743134" y="614172"/>
                  </a:lnTo>
                  <a:lnTo>
                    <a:pt x="2773125" y="548607"/>
                  </a:lnTo>
                  <a:lnTo>
                    <a:pt x="2792241" y="503431"/>
                  </a:lnTo>
                  <a:lnTo>
                    <a:pt x="2813286" y="452247"/>
                  </a:lnTo>
                  <a:lnTo>
                    <a:pt x="2835645" y="396743"/>
                  </a:lnTo>
                  <a:lnTo>
                    <a:pt x="2858707" y="338610"/>
                  </a:lnTo>
                  <a:lnTo>
                    <a:pt x="2881856" y="279538"/>
                  </a:lnTo>
                  <a:lnTo>
                    <a:pt x="2904480" y="221215"/>
                  </a:lnTo>
                  <a:lnTo>
                    <a:pt x="2925965" y="165333"/>
                  </a:lnTo>
                  <a:lnTo>
                    <a:pt x="2945698" y="113581"/>
                  </a:lnTo>
                  <a:lnTo>
                    <a:pt x="2963064" y="67648"/>
                  </a:lnTo>
                  <a:lnTo>
                    <a:pt x="2977451" y="29224"/>
                  </a:lnTo>
                  <a:lnTo>
                    <a:pt x="2988244" y="0"/>
                  </a:lnTo>
                </a:path>
              </a:pathLst>
            </a:custGeom>
            <a:ln w="9525">
              <a:solidFill>
                <a:srgbClr val="E8E1E8"/>
              </a:solidFill>
              <a:prstDash val="sysDash"/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7981950" y="5200650"/>
              <a:ext cx="4210050" cy="1657350"/>
            </a:xfrm>
            <a:custGeom>
              <a:avLst/>
              <a:gdLst/>
              <a:ahLst/>
              <a:cxnLst/>
              <a:rect l="l" t="t" r="r" b="b"/>
              <a:pathLst>
                <a:path w="4210050" h="1657350">
                  <a:moveTo>
                    <a:pt x="4210050" y="0"/>
                  </a:moveTo>
                  <a:lnTo>
                    <a:pt x="4175299" y="75594"/>
                  </a:lnTo>
                  <a:lnTo>
                    <a:pt x="4155312" y="117681"/>
                  </a:lnTo>
                  <a:lnTo>
                    <a:pt x="4133992" y="159601"/>
                  </a:lnTo>
                  <a:lnTo>
                    <a:pt x="4110863" y="200913"/>
                  </a:lnTo>
                  <a:lnTo>
                    <a:pt x="4081733" y="247333"/>
                  </a:lnTo>
                  <a:lnTo>
                    <a:pt x="4050280" y="293168"/>
                  </a:lnTo>
                  <a:lnTo>
                    <a:pt x="4017201" y="338409"/>
                  </a:lnTo>
                  <a:lnTo>
                    <a:pt x="3983188" y="383051"/>
                  </a:lnTo>
                  <a:lnTo>
                    <a:pt x="3904043" y="484849"/>
                  </a:lnTo>
                  <a:lnTo>
                    <a:pt x="3881751" y="514175"/>
                  </a:lnTo>
                  <a:lnTo>
                    <a:pt x="3859910" y="543610"/>
                  </a:lnTo>
                  <a:lnTo>
                    <a:pt x="3798254" y="630105"/>
                  </a:lnTo>
                  <a:lnTo>
                    <a:pt x="3771114" y="666940"/>
                  </a:lnTo>
                  <a:lnTo>
                    <a:pt x="3742435" y="703267"/>
                  </a:lnTo>
                  <a:lnTo>
                    <a:pt x="3711598" y="738619"/>
                  </a:lnTo>
                  <a:lnTo>
                    <a:pt x="3677981" y="772529"/>
                  </a:lnTo>
                  <a:lnTo>
                    <a:pt x="3640963" y="804532"/>
                  </a:lnTo>
                  <a:lnTo>
                    <a:pt x="3607530" y="829065"/>
                  </a:lnTo>
                  <a:lnTo>
                    <a:pt x="3570647" y="852452"/>
                  </a:lnTo>
                  <a:lnTo>
                    <a:pt x="3530377" y="874655"/>
                  </a:lnTo>
                  <a:lnTo>
                    <a:pt x="3486784" y="895639"/>
                  </a:lnTo>
                  <a:lnTo>
                    <a:pt x="3439932" y="915368"/>
                  </a:lnTo>
                  <a:lnTo>
                    <a:pt x="3389883" y="933805"/>
                  </a:lnTo>
                  <a:lnTo>
                    <a:pt x="3336176" y="950890"/>
                  </a:lnTo>
                  <a:lnTo>
                    <a:pt x="3281572" y="966000"/>
                  </a:lnTo>
                  <a:lnTo>
                    <a:pt x="3226974" y="979487"/>
                  </a:lnTo>
                  <a:lnTo>
                    <a:pt x="3173284" y="991701"/>
                  </a:lnTo>
                  <a:lnTo>
                    <a:pt x="3067629" y="1014439"/>
                  </a:lnTo>
                  <a:lnTo>
                    <a:pt x="3013614" y="1025667"/>
                  </a:lnTo>
                  <a:lnTo>
                    <a:pt x="2763816" y="1076624"/>
                  </a:lnTo>
                  <a:lnTo>
                    <a:pt x="2668079" y="1096994"/>
                  </a:lnTo>
                  <a:lnTo>
                    <a:pt x="2620358" y="1107581"/>
                  </a:lnTo>
                  <a:lnTo>
                    <a:pt x="2572893" y="1118489"/>
                  </a:lnTo>
                  <a:lnTo>
                    <a:pt x="2374300" y="1165889"/>
                  </a:lnTo>
                  <a:lnTo>
                    <a:pt x="2323535" y="1177540"/>
                  </a:lnTo>
                  <a:lnTo>
                    <a:pt x="2272415" y="1188724"/>
                  </a:lnTo>
                  <a:lnTo>
                    <a:pt x="2220981" y="1199245"/>
                  </a:lnTo>
                  <a:lnTo>
                    <a:pt x="2169277" y="1208910"/>
                  </a:lnTo>
                  <a:lnTo>
                    <a:pt x="2117344" y="1217523"/>
                  </a:lnTo>
                  <a:lnTo>
                    <a:pt x="2066524" y="1224757"/>
                  </a:lnTo>
                  <a:lnTo>
                    <a:pt x="2015294" y="1230930"/>
                  </a:lnTo>
                  <a:lnTo>
                    <a:pt x="1963802" y="1236216"/>
                  </a:lnTo>
                  <a:lnTo>
                    <a:pt x="1912196" y="1240787"/>
                  </a:lnTo>
                  <a:lnTo>
                    <a:pt x="1860626" y="1244816"/>
                  </a:lnTo>
                  <a:lnTo>
                    <a:pt x="1681702" y="1257211"/>
                  </a:lnTo>
                  <a:lnTo>
                    <a:pt x="1604645" y="1263053"/>
                  </a:lnTo>
                  <a:lnTo>
                    <a:pt x="1554625" y="1267358"/>
                  </a:lnTo>
                  <a:lnTo>
                    <a:pt x="1504768" y="1271996"/>
                  </a:lnTo>
                  <a:lnTo>
                    <a:pt x="1454977" y="1276949"/>
                  </a:lnTo>
                  <a:lnTo>
                    <a:pt x="1405156" y="1282202"/>
                  </a:lnTo>
                  <a:lnTo>
                    <a:pt x="1305036" y="1293539"/>
                  </a:lnTo>
                  <a:lnTo>
                    <a:pt x="1203635" y="1305875"/>
                  </a:lnTo>
                  <a:lnTo>
                    <a:pt x="1100181" y="1319078"/>
                  </a:lnTo>
                  <a:lnTo>
                    <a:pt x="888892" y="1347114"/>
                  </a:lnTo>
                  <a:lnTo>
                    <a:pt x="836164" y="1354618"/>
                  </a:lnTo>
                  <a:lnTo>
                    <a:pt x="783449" y="1362631"/>
                  </a:lnTo>
                  <a:lnTo>
                    <a:pt x="730869" y="1371307"/>
                  </a:lnTo>
                  <a:lnTo>
                    <a:pt x="678543" y="1380803"/>
                  </a:lnTo>
                  <a:lnTo>
                    <a:pt x="626594" y="1391271"/>
                  </a:lnTo>
                  <a:lnTo>
                    <a:pt x="575143" y="1402866"/>
                  </a:lnTo>
                  <a:lnTo>
                    <a:pt x="524310" y="1415744"/>
                  </a:lnTo>
                  <a:lnTo>
                    <a:pt x="474218" y="1430058"/>
                  </a:lnTo>
                  <a:lnTo>
                    <a:pt x="425245" y="1445709"/>
                  </a:lnTo>
                  <a:lnTo>
                    <a:pt x="376735" y="1462823"/>
                  </a:lnTo>
                  <a:lnTo>
                    <a:pt x="328710" y="1481388"/>
                  </a:lnTo>
                  <a:lnTo>
                    <a:pt x="281193" y="1501394"/>
                  </a:lnTo>
                  <a:lnTo>
                    <a:pt x="234206" y="1522828"/>
                  </a:lnTo>
                  <a:lnTo>
                    <a:pt x="187771" y="1545680"/>
                  </a:lnTo>
                  <a:lnTo>
                    <a:pt x="141910" y="1569938"/>
                  </a:lnTo>
                  <a:lnTo>
                    <a:pt x="96647" y="1595591"/>
                  </a:lnTo>
                  <a:lnTo>
                    <a:pt x="0" y="1657350"/>
                  </a:lnTo>
                  <a:lnTo>
                    <a:pt x="39624" y="1657350"/>
                  </a:lnTo>
                  <a:lnTo>
                    <a:pt x="113283" y="1610326"/>
                  </a:lnTo>
                  <a:lnTo>
                    <a:pt x="157827" y="1585068"/>
                  </a:lnTo>
                  <a:lnTo>
                    <a:pt x="202951" y="1561185"/>
                  </a:lnTo>
                  <a:lnTo>
                    <a:pt x="248633" y="1538692"/>
                  </a:lnTo>
                  <a:lnTo>
                    <a:pt x="294846" y="1517598"/>
                  </a:lnTo>
                  <a:lnTo>
                    <a:pt x="341565" y="1497916"/>
                  </a:lnTo>
                  <a:lnTo>
                    <a:pt x="388764" y="1479657"/>
                  </a:lnTo>
                  <a:lnTo>
                    <a:pt x="436419" y="1462833"/>
                  </a:lnTo>
                  <a:lnTo>
                    <a:pt x="484504" y="1447457"/>
                  </a:lnTo>
                  <a:lnTo>
                    <a:pt x="533838" y="1433376"/>
                  </a:lnTo>
                  <a:lnTo>
                    <a:pt x="583991" y="1420690"/>
                  </a:lnTo>
                  <a:lnTo>
                    <a:pt x="634838" y="1409251"/>
                  </a:lnTo>
                  <a:lnTo>
                    <a:pt x="686252" y="1398906"/>
                  </a:lnTo>
                  <a:lnTo>
                    <a:pt x="738108" y="1389508"/>
                  </a:lnTo>
                  <a:lnTo>
                    <a:pt x="790280" y="1380906"/>
                  </a:lnTo>
                  <a:lnTo>
                    <a:pt x="842643" y="1372949"/>
                  </a:lnTo>
                  <a:lnTo>
                    <a:pt x="895070" y="1365489"/>
                  </a:lnTo>
                  <a:lnTo>
                    <a:pt x="1052829" y="1344430"/>
                  </a:lnTo>
                  <a:lnTo>
                    <a:pt x="1208240" y="1324414"/>
                  </a:lnTo>
                  <a:lnTo>
                    <a:pt x="1309243" y="1312125"/>
                  </a:lnTo>
                  <a:lnTo>
                    <a:pt x="1409017" y="1300836"/>
                  </a:lnTo>
                  <a:lnTo>
                    <a:pt x="1458674" y="1295607"/>
                  </a:lnTo>
                  <a:lnTo>
                    <a:pt x="1508299" y="1290678"/>
                  </a:lnTo>
                  <a:lnTo>
                    <a:pt x="1557983" y="1286065"/>
                  </a:lnTo>
                  <a:lnTo>
                    <a:pt x="1607820" y="1281785"/>
                  </a:lnTo>
                  <a:lnTo>
                    <a:pt x="1684527" y="1275943"/>
                  </a:lnTo>
                  <a:lnTo>
                    <a:pt x="1863905" y="1263611"/>
                  </a:lnTo>
                  <a:lnTo>
                    <a:pt x="1915839" y="1259556"/>
                  </a:lnTo>
                  <a:lnTo>
                    <a:pt x="1967853" y="1254947"/>
                  </a:lnTo>
                  <a:lnTo>
                    <a:pt x="2019803" y="1249610"/>
                  </a:lnTo>
                  <a:lnTo>
                    <a:pt x="2071544" y="1243374"/>
                  </a:lnTo>
                  <a:lnTo>
                    <a:pt x="2122931" y="1236065"/>
                  </a:lnTo>
                  <a:lnTo>
                    <a:pt x="2175427" y="1227338"/>
                  </a:lnTo>
                  <a:lnTo>
                    <a:pt x="2227626" y="1217578"/>
                  </a:lnTo>
                  <a:lnTo>
                    <a:pt x="2279499" y="1206975"/>
                  </a:lnTo>
                  <a:lnTo>
                    <a:pt x="2331015" y="1195718"/>
                  </a:lnTo>
                  <a:lnTo>
                    <a:pt x="2382141" y="1183999"/>
                  </a:lnTo>
                  <a:lnTo>
                    <a:pt x="2507585" y="1154030"/>
                  </a:lnTo>
                  <a:lnTo>
                    <a:pt x="2628410" y="1125711"/>
                  </a:lnTo>
                  <a:lnTo>
                    <a:pt x="2675955" y="1115176"/>
                  </a:lnTo>
                  <a:lnTo>
                    <a:pt x="2771402" y="1094875"/>
                  </a:lnTo>
                  <a:lnTo>
                    <a:pt x="3075100" y="1032691"/>
                  </a:lnTo>
                  <a:lnTo>
                    <a:pt x="3172611" y="1011826"/>
                  </a:lnTo>
                  <a:lnTo>
                    <a:pt x="3217568" y="1001769"/>
                  </a:lnTo>
                  <a:lnTo>
                    <a:pt x="3263407" y="990866"/>
                  </a:lnTo>
                  <a:lnTo>
                    <a:pt x="3309638" y="978909"/>
                  </a:lnTo>
                  <a:lnTo>
                    <a:pt x="3355770" y="965690"/>
                  </a:lnTo>
                  <a:lnTo>
                    <a:pt x="3401314" y="951001"/>
                  </a:lnTo>
                  <a:lnTo>
                    <a:pt x="3452908" y="931972"/>
                  </a:lnTo>
                  <a:lnTo>
                    <a:pt x="3501225" y="911600"/>
                  </a:lnTo>
                  <a:lnTo>
                    <a:pt x="3546205" y="889919"/>
                  </a:lnTo>
                  <a:lnTo>
                    <a:pt x="3587787" y="866962"/>
                  </a:lnTo>
                  <a:lnTo>
                    <a:pt x="3625912" y="842764"/>
                  </a:lnTo>
                  <a:lnTo>
                    <a:pt x="3660521" y="817359"/>
                  </a:lnTo>
                  <a:lnTo>
                    <a:pt x="3698615" y="784506"/>
                  </a:lnTo>
                  <a:lnTo>
                    <a:pt x="3733080" y="749835"/>
                  </a:lnTo>
                  <a:lnTo>
                    <a:pt x="3764581" y="713790"/>
                  </a:lnTo>
                  <a:lnTo>
                    <a:pt x="3793786" y="676819"/>
                  </a:lnTo>
                  <a:lnTo>
                    <a:pt x="3821361" y="639366"/>
                  </a:lnTo>
                  <a:lnTo>
                    <a:pt x="3874369" y="564748"/>
                  </a:lnTo>
                  <a:lnTo>
                    <a:pt x="3905023" y="523156"/>
                  </a:lnTo>
                  <a:lnTo>
                    <a:pt x="3927221" y="493961"/>
                  </a:lnTo>
                  <a:lnTo>
                    <a:pt x="4000602" y="399480"/>
                  </a:lnTo>
                  <a:lnTo>
                    <a:pt x="4029216" y="362150"/>
                  </a:lnTo>
                  <a:lnTo>
                    <a:pt x="4057364" y="324392"/>
                  </a:lnTo>
                  <a:lnTo>
                    <a:pt x="4084644" y="286193"/>
                  </a:lnTo>
                  <a:lnTo>
                    <a:pt x="4110654" y="247536"/>
                  </a:lnTo>
                  <a:lnTo>
                    <a:pt x="4134993" y="208406"/>
                  </a:lnTo>
                  <a:lnTo>
                    <a:pt x="4210050" y="58293"/>
                  </a:lnTo>
                  <a:lnTo>
                    <a:pt x="4210050" y="0"/>
                  </a:lnTo>
                  <a:close/>
                </a:path>
              </a:pathLst>
            </a:custGeom>
            <a:solidFill>
              <a:srgbClr val="48B54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0" name="object 10">
            <a:extLst>
              <a:ext uri="{FF2B5EF4-FFF2-40B4-BE49-F238E27FC236}">
                <a16:creationId xmlns:a16="http://schemas.microsoft.com/office/drawing/2014/main" id="{0FED9D75-2920-1EF4-100A-E1F3BC1EA4DB}"/>
              </a:ext>
            </a:extLst>
          </p:cNvPr>
          <p:cNvSpPr txBox="1"/>
          <p:nvPr/>
        </p:nvSpPr>
        <p:spPr>
          <a:xfrm>
            <a:off x="2800668" y="2861858"/>
            <a:ext cx="7638732" cy="113428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algn="ctr">
              <a:lnSpc>
                <a:spcPct val="100000"/>
              </a:lnSpc>
              <a:spcBef>
                <a:spcPts val="105"/>
              </a:spcBef>
            </a:pPr>
            <a:r>
              <a:rPr lang="es-MX" sz="3600" b="1" dirty="0">
                <a:latin typeface="Sitka Heading"/>
                <a:cs typeface="Sitka Heading"/>
              </a:rPr>
              <a:t>RESPONSABLE IMAGEN </a:t>
            </a:r>
          </a:p>
          <a:p>
            <a:pPr marL="12700" algn="ctr">
              <a:lnSpc>
                <a:spcPct val="100000"/>
              </a:lnSpc>
              <a:spcBef>
                <a:spcPts val="105"/>
              </a:spcBef>
            </a:pPr>
            <a:r>
              <a:rPr lang="es-MX" sz="3600" b="1" dirty="0">
                <a:latin typeface="Sitka Heading"/>
                <a:cs typeface="Sitka Heading"/>
              </a:rPr>
              <a:t>VISUAL MERCHANDISER</a:t>
            </a:r>
            <a:endParaRPr sz="3600" dirty="0">
              <a:latin typeface="Sitka Heading"/>
              <a:cs typeface="Sitka Heading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204152" y="165798"/>
            <a:ext cx="11504295" cy="617605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41300" indent="-229235">
              <a:lnSpc>
                <a:spcPts val="2865"/>
              </a:lnSpc>
              <a:spcBef>
                <a:spcPts val="100"/>
              </a:spcBef>
              <a:buClr>
                <a:srgbClr val="E18A67"/>
              </a:buClr>
              <a:buFont typeface="Calibri"/>
              <a:buChar char="-"/>
              <a:tabLst>
                <a:tab pos="241300" algn="l"/>
                <a:tab pos="241935" algn="l"/>
              </a:tabLst>
            </a:pP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Imprescindible</a:t>
            </a:r>
            <a:r>
              <a:rPr sz="2400" spc="-2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conocer</a:t>
            </a:r>
            <a:r>
              <a:rPr sz="2400" spc="-5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la</a:t>
            </a:r>
            <a:r>
              <a:rPr sz="2400" spc="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esencia,</a:t>
            </a:r>
            <a:r>
              <a:rPr sz="2400" spc="-7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la</a:t>
            </a:r>
            <a:r>
              <a:rPr sz="2400" spc="8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imagen</a:t>
            </a:r>
            <a:r>
              <a:rPr sz="2400" spc="-2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deseada</a:t>
            </a:r>
            <a:r>
              <a:rPr sz="2400" spc="-13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y</a:t>
            </a:r>
            <a:r>
              <a:rPr sz="2400" spc="-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el</a:t>
            </a:r>
            <a:r>
              <a:rPr sz="2400" spc="-2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perfil</a:t>
            </a:r>
            <a:r>
              <a:rPr sz="2400" spc="-1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de</a:t>
            </a:r>
            <a:r>
              <a:rPr sz="2400" spc="-2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cliente</a:t>
            </a:r>
            <a:r>
              <a:rPr sz="2400" spc="-3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potencial,</a:t>
            </a:r>
            <a:r>
              <a:rPr sz="2400" spc="1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de</a:t>
            </a:r>
            <a:r>
              <a:rPr sz="2400" spc="5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spc="-25" dirty="0">
                <a:solidFill>
                  <a:srgbClr val="412C23"/>
                </a:solidFill>
                <a:latin typeface="Sitka Heading"/>
                <a:cs typeface="Sitka Heading"/>
              </a:rPr>
              <a:t>la</a:t>
            </a:r>
            <a:endParaRPr sz="2400" dirty="0">
              <a:latin typeface="Sitka Heading"/>
              <a:cs typeface="Sitka Heading"/>
            </a:endParaRPr>
          </a:p>
          <a:p>
            <a:pPr marL="241300">
              <a:lnSpc>
                <a:spcPts val="2865"/>
              </a:lnSpc>
            </a:pP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marca</a:t>
            </a:r>
            <a:r>
              <a:rPr sz="2400" spc="3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para</a:t>
            </a:r>
            <a:r>
              <a:rPr sz="2400" spc="-2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la</a:t>
            </a:r>
            <a:r>
              <a:rPr sz="2400" spc="-3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que</a:t>
            </a:r>
            <a:r>
              <a:rPr sz="2400" spc="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se</a:t>
            </a:r>
            <a:r>
              <a:rPr sz="2400" spc="2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va</a:t>
            </a:r>
            <a:r>
              <a:rPr sz="2400" spc="3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a</a:t>
            </a:r>
            <a:r>
              <a:rPr sz="2400" spc="-3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desarrollar</a:t>
            </a:r>
            <a:r>
              <a:rPr sz="2400" spc="-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el</a:t>
            </a:r>
            <a:r>
              <a:rPr sz="2400" spc="-5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VM</a:t>
            </a:r>
            <a:r>
              <a:rPr sz="2400" spc="-10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y</a:t>
            </a:r>
            <a:r>
              <a:rPr sz="2400" spc="3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trabajar</a:t>
            </a:r>
            <a:r>
              <a:rPr sz="2400" spc="-1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en</a:t>
            </a:r>
            <a:r>
              <a:rPr sz="2400" spc="-6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spc="-10" dirty="0">
                <a:solidFill>
                  <a:srgbClr val="412C23"/>
                </a:solidFill>
                <a:latin typeface="Sitka Heading"/>
                <a:cs typeface="Sitka Heading"/>
              </a:rPr>
              <a:t>consecuencia.</a:t>
            </a:r>
            <a:endParaRPr sz="2400" dirty="0">
              <a:latin typeface="Sitka Heading"/>
              <a:cs typeface="Sitka Heading"/>
            </a:endParaRPr>
          </a:p>
          <a:p>
            <a:pPr>
              <a:lnSpc>
                <a:spcPct val="100000"/>
              </a:lnSpc>
              <a:spcBef>
                <a:spcPts val="10"/>
              </a:spcBef>
            </a:pPr>
            <a:endParaRPr sz="3400" dirty="0">
              <a:latin typeface="Sitka Heading"/>
              <a:cs typeface="Sitka Heading"/>
            </a:endParaRPr>
          </a:p>
          <a:p>
            <a:pPr marL="241300" marR="128270" indent="-229235">
              <a:lnSpc>
                <a:spcPct val="100400"/>
              </a:lnSpc>
              <a:buClr>
                <a:srgbClr val="E18A67"/>
              </a:buClr>
              <a:buFont typeface="Calibri"/>
              <a:buChar char="-"/>
              <a:tabLst>
                <a:tab pos="241300" algn="l"/>
                <a:tab pos="241935" algn="l"/>
              </a:tabLst>
            </a:pPr>
            <a:r>
              <a:rPr lang="es-ES" sz="2400" spc="-65" dirty="0">
                <a:solidFill>
                  <a:srgbClr val="412C23"/>
                </a:solidFill>
                <a:latin typeface="Sitka Heading"/>
                <a:cs typeface="Sitka Heading"/>
              </a:rPr>
              <a:t>Estandarizar</a:t>
            </a:r>
            <a:r>
              <a:rPr sz="2400" spc="-6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una</a:t>
            </a:r>
            <a:r>
              <a:rPr sz="2400" spc="-1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guía</a:t>
            </a:r>
            <a:r>
              <a:rPr sz="2400" spc="-9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para</a:t>
            </a:r>
            <a:r>
              <a:rPr sz="2400" spc="-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las</a:t>
            </a:r>
            <a:r>
              <a:rPr sz="2400" spc="6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tiendas,</a:t>
            </a:r>
            <a:r>
              <a:rPr sz="2400" spc="-9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con</a:t>
            </a:r>
            <a:r>
              <a:rPr sz="2400" spc="6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los</a:t>
            </a:r>
            <a:r>
              <a:rPr sz="2400" spc="-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lang="es-ES" sz="2400" spc="-5" dirty="0">
                <a:solidFill>
                  <a:srgbClr val="412C23"/>
                </a:solidFill>
                <a:latin typeface="Sitka Heading"/>
                <a:cs typeface="Sitka Heading"/>
              </a:rPr>
              <a:t>lineamientos</a:t>
            </a:r>
            <a:r>
              <a:rPr sz="2400" spc="-1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de</a:t>
            </a:r>
            <a:r>
              <a:rPr sz="2400" spc="-5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imagen</a:t>
            </a:r>
            <a:r>
              <a:rPr sz="2400" spc="-5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de</a:t>
            </a:r>
            <a:r>
              <a:rPr sz="2400" spc="-4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la</a:t>
            </a:r>
            <a:r>
              <a:rPr sz="2400" spc="8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marca,</a:t>
            </a:r>
            <a:r>
              <a:rPr sz="2400" spc="6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lang="es-ES" sz="2400" spc="65" dirty="0">
                <a:solidFill>
                  <a:srgbClr val="412C23"/>
                </a:solidFill>
                <a:latin typeface="Sitka Heading"/>
                <a:cs typeface="Sitka Heading"/>
              </a:rPr>
              <a:t>el tipo de producto</a:t>
            </a:r>
            <a:r>
              <a:rPr sz="2400" spc="-15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y</a:t>
            </a:r>
            <a:r>
              <a:rPr sz="2400" spc="4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como exponerlas,</a:t>
            </a:r>
            <a:r>
              <a:rPr sz="2400" spc="-15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el</a:t>
            </a:r>
            <a:r>
              <a:rPr sz="2400" spc="-5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tipo de</a:t>
            </a:r>
            <a:r>
              <a:rPr sz="2400" spc="-5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materiales</a:t>
            </a:r>
            <a:r>
              <a:rPr sz="2400" spc="-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con</a:t>
            </a:r>
            <a:r>
              <a:rPr sz="2400" spc="3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los</a:t>
            </a:r>
            <a:r>
              <a:rPr sz="2400" spc="-1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que</a:t>
            </a:r>
            <a:r>
              <a:rPr sz="2400" spc="2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se</a:t>
            </a:r>
            <a:r>
              <a:rPr sz="2400" spc="2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va</a:t>
            </a:r>
            <a:r>
              <a:rPr sz="2400" spc="-2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a</a:t>
            </a:r>
            <a:r>
              <a:rPr sz="2400" spc="5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trabajar</a:t>
            </a:r>
            <a:r>
              <a:rPr sz="2400" spc="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y</a:t>
            </a:r>
            <a:r>
              <a:rPr sz="2400" spc="4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una</a:t>
            </a:r>
            <a:r>
              <a:rPr sz="2400" spc="-8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spc="-10" dirty="0">
                <a:solidFill>
                  <a:srgbClr val="412C23"/>
                </a:solidFill>
                <a:latin typeface="Sitka Heading"/>
                <a:cs typeface="Sitka Heading"/>
              </a:rPr>
              <a:t>tabla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de</a:t>
            </a:r>
            <a:r>
              <a:rPr sz="2400" spc="-5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surtidos</a:t>
            </a:r>
            <a:r>
              <a:rPr sz="2400" spc="1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y</a:t>
            </a:r>
            <a:r>
              <a:rPr sz="2400" spc="-1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perfilados,</a:t>
            </a:r>
            <a:r>
              <a:rPr sz="2400" spc="-7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para que</a:t>
            </a:r>
            <a:r>
              <a:rPr sz="2400" spc="3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la</a:t>
            </a:r>
            <a:r>
              <a:rPr sz="2400" spc="9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tengan</a:t>
            </a:r>
            <a:r>
              <a:rPr sz="2400" spc="-10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siempre</a:t>
            </a:r>
            <a:r>
              <a:rPr sz="2400" spc="-3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de</a:t>
            </a:r>
            <a:r>
              <a:rPr sz="2400" spc="-3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spc="-10" dirty="0">
                <a:solidFill>
                  <a:srgbClr val="412C23"/>
                </a:solidFill>
                <a:latin typeface="Sitka Heading"/>
                <a:cs typeface="Sitka Heading"/>
              </a:rPr>
              <a:t>ejemplo.</a:t>
            </a:r>
            <a:endParaRPr sz="2400" dirty="0">
              <a:latin typeface="Sitka Heading"/>
              <a:cs typeface="Sitka Heading"/>
            </a:endParaRPr>
          </a:p>
          <a:p>
            <a:pPr>
              <a:lnSpc>
                <a:spcPct val="100000"/>
              </a:lnSpc>
              <a:spcBef>
                <a:spcPts val="15"/>
              </a:spcBef>
              <a:buClr>
                <a:srgbClr val="E18A67"/>
              </a:buClr>
              <a:buFont typeface="Calibri"/>
              <a:buChar char="-"/>
            </a:pPr>
            <a:endParaRPr sz="3350" dirty="0">
              <a:latin typeface="Sitka Heading"/>
              <a:cs typeface="Sitka Heading"/>
            </a:endParaRPr>
          </a:p>
          <a:p>
            <a:pPr marL="241300" indent="-229235">
              <a:lnSpc>
                <a:spcPct val="100000"/>
              </a:lnSpc>
              <a:buClr>
                <a:srgbClr val="E18A67"/>
              </a:buClr>
              <a:buFont typeface="Calibri"/>
              <a:buChar char="-"/>
              <a:tabLst>
                <a:tab pos="241300" algn="l"/>
                <a:tab pos="241935" algn="l"/>
              </a:tabLst>
            </a:pP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Tener</a:t>
            </a:r>
            <a:r>
              <a:rPr sz="2400" spc="-8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dominio</a:t>
            </a:r>
            <a:r>
              <a:rPr sz="2400" spc="-14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y</a:t>
            </a:r>
            <a:r>
              <a:rPr sz="2400" spc="-3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conocimiento</a:t>
            </a:r>
            <a:r>
              <a:rPr sz="2400" spc="-8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total</a:t>
            </a:r>
            <a:r>
              <a:rPr sz="2400" spc="10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de</a:t>
            </a:r>
            <a:r>
              <a:rPr sz="2400" spc="-6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todos</a:t>
            </a:r>
            <a:r>
              <a:rPr sz="2400" spc="-1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los</a:t>
            </a:r>
            <a:r>
              <a:rPr sz="2400" spc="-1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materiales</a:t>
            </a:r>
            <a:r>
              <a:rPr sz="2400" spc="-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que</a:t>
            </a:r>
            <a:r>
              <a:rPr sz="2400" spc="2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la</a:t>
            </a:r>
            <a:r>
              <a:rPr sz="2400" spc="4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marca</a:t>
            </a:r>
            <a:r>
              <a:rPr sz="2400" spc="4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pone</a:t>
            </a:r>
            <a:r>
              <a:rPr sz="2400" spc="-50" dirty="0">
                <a:solidFill>
                  <a:srgbClr val="412C23"/>
                </a:solidFill>
                <a:latin typeface="Sitka Heading"/>
                <a:cs typeface="Sitka Heading"/>
              </a:rPr>
              <a:t> a</a:t>
            </a:r>
            <a:endParaRPr sz="2400" dirty="0">
              <a:latin typeface="Sitka Heading"/>
              <a:cs typeface="Sitka Heading"/>
            </a:endParaRPr>
          </a:p>
          <a:p>
            <a:pPr marR="79375" algn="ctr">
              <a:lnSpc>
                <a:spcPct val="100000"/>
              </a:lnSpc>
              <a:spcBef>
                <a:spcPts val="50"/>
              </a:spcBef>
            </a:pP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disposición</a:t>
            </a:r>
            <a:r>
              <a:rPr sz="2400" spc="-10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del</a:t>
            </a:r>
            <a:r>
              <a:rPr sz="2400" spc="-4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VM,</a:t>
            </a:r>
            <a:r>
              <a:rPr sz="2400" spc="-8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para</a:t>
            </a:r>
            <a:r>
              <a:rPr sz="2400" spc="-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saber</a:t>
            </a:r>
            <a:r>
              <a:rPr sz="2400" spc="2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como</a:t>
            </a:r>
            <a:r>
              <a:rPr sz="2400" spc="7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implementarlos</a:t>
            </a:r>
            <a:r>
              <a:rPr sz="2400" spc="-1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y</a:t>
            </a:r>
            <a:r>
              <a:rPr sz="2400" spc="-2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como</a:t>
            </a:r>
            <a:r>
              <a:rPr sz="2400" spc="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sacarles</a:t>
            </a:r>
            <a:r>
              <a:rPr sz="2400" spc="6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el</a:t>
            </a:r>
            <a:r>
              <a:rPr sz="2400" spc="-4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mejor</a:t>
            </a:r>
            <a:r>
              <a:rPr sz="2400" spc="-6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spc="-10" dirty="0">
                <a:solidFill>
                  <a:srgbClr val="412C23"/>
                </a:solidFill>
                <a:latin typeface="Sitka Heading"/>
                <a:cs typeface="Sitka Heading"/>
              </a:rPr>
              <a:t>partido.</a:t>
            </a:r>
            <a:endParaRPr sz="2400" dirty="0">
              <a:latin typeface="Sitka Heading"/>
              <a:cs typeface="Sitka Heading"/>
            </a:endParaRPr>
          </a:p>
          <a:p>
            <a:pPr>
              <a:lnSpc>
                <a:spcPct val="100000"/>
              </a:lnSpc>
              <a:spcBef>
                <a:spcPts val="15"/>
              </a:spcBef>
            </a:pPr>
            <a:endParaRPr sz="3350" dirty="0">
              <a:latin typeface="Sitka Heading"/>
              <a:cs typeface="Sitka Heading"/>
            </a:endParaRPr>
          </a:p>
          <a:p>
            <a:pPr marL="228600" marR="31750" indent="-229235" algn="ctr">
              <a:lnSpc>
                <a:spcPct val="100000"/>
              </a:lnSpc>
              <a:spcBef>
                <a:spcPts val="5"/>
              </a:spcBef>
              <a:buClr>
                <a:srgbClr val="E18A67"/>
              </a:buClr>
              <a:buFont typeface="Calibri"/>
              <a:buChar char="-"/>
              <a:tabLst>
                <a:tab pos="228600" algn="l"/>
                <a:tab pos="229235" algn="l"/>
              </a:tabLst>
            </a:pP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Buscar</a:t>
            </a:r>
            <a:r>
              <a:rPr sz="2400" spc="6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la</a:t>
            </a:r>
            <a:r>
              <a:rPr sz="2400" spc="-2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maxima</a:t>
            </a:r>
            <a:r>
              <a:rPr sz="2400" spc="5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lang="es-ES" sz="2400" spc="55" dirty="0">
                <a:solidFill>
                  <a:srgbClr val="412C23"/>
                </a:solidFill>
                <a:latin typeface="Sitka Heading"/>
                <a:cs typeface="Sitka Heading"/>
              </a:rPr>
              <a:t>productividad </a:t>
            </a:r>
            <a:r>
              <a:rPr sz="2400" spc="-4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por</a:t>
            </a:r>
            <a:r>
              <a:rPr sz="2400" spc="-7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metro</a:t>
            </a:r>
            <a:r>
              <a:rPr sz="2400" spc="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cuadrado</a:t>
            </a:r>
            <a:r>
              <a:rPr sz="2400" spc="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en</a:t>
            </a:r>
            <a:r>
              <a:rPr sz="2400" spc="-5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cada</a:t>
            </a:r>
            <a:r>
              <a:rPr sz="2400" spc="-1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uno</a:t>
            </a:r>
            <a:r>
              <a:rPr sz="2400" spc="-1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de</a:t>
            </a:r>
            <a:r>
              <a:rPr sz="2400" spc="-5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los</a:t>
            </a:r>
            <a:r>
              <a:rPr sz="2400" spc="-1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 err="1">
                <a:solidFill>
                  <a:srgbClr val="412C23"/>
                </a:solidFill>
                <a:latin typeface="Sitka Heading"/>
                <a:cs typeface="Sitka Heading"/>
              </a:rPr>
              <a:t>espacios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lang="es-ES" sz="2400" dirty="0">
                <a:solidFill>
                  <a:srgbClr val="412C23"/>
                </a:solidFill>
                <a:latin typeface="Sitka Heading"/>
                <a:cs typeface="Sitka Heading"/>
              </a:rPr>
              <a:t>comerciales.</a:t>
            </a:r>
            <a:endParaRPr sz="2400" dirty="0">
              <a:latin typeface="Sitka Heading"/>
              <a:cs typeface="Sitka Heading"/>
            </a:endParaRPr>
          </a:p>
          <a:p>
            <a:pPr>
              <a:lnSpc>
                <a:spcPct val="100000"/>
              </a:lnSpc>
              <a:spcBef>
                <a:spcPts val="15"/>
              </a:spcBef>
              <a:buClr>
                <a:srgbClr val="E18A67"/>
              </a:buClr>
              <a:buFont typeface="Calibri"/>
              <a:buChar char="-"/>
            </a:pPr>
            <a:endParaRPr sz="3350" dirty="0">
              <a:latin typeface="Sitka Heading"/>
              <a:cs typeface="Sitka Heading"/>
            </a:endParaRPr>
          </a:p>
          <a:p>
            <a:pPr marL="241300" indent="-229235">
              <a:lnSpc>
                <a:spcPct val="100000"/>
              </a:lnSpc>
              <a:buClr>
                <a:srgbClr val="E18A67"/>
              </a:buClr>
              <a:buFont typeface="Calibri"/>
              <a:buChar char="-"/>
              <a:tabLst>
                <a:tab pos="241300" algn="l"/>
                <a:tab pos="241935" algn="l"/>
              </a:tabLst>
            </a:pP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Conseguir</a:t>
            </a:r>
            <a:r>
              <a:rPr sz="2400" spc="-14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que</a:t>
            </a:r>
            <a:r>
              <a:rPr sz="2400" spc="2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a</a:t>
            </a:r>
            <a:r>
              <a:rPr sz="2400" spc="-2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través</a:t>
            </a:r>
            <a:r>
              <a:rPr sz="2400" spc="-1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del</a:t>
            </a:r>
            <a:r>
              <a:rPr sz="2400" spc="-4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VM cada</a:t>
            </a:r>
            <a:r>
              <a:rPr sz="2400" spc="-2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cliente</a:t>
            </a:r>
            <a:r>
              <a:rPr sz="2400" spc="3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que</a:t>
            </a:r>
            <a:r>
              <a:rPr sz="2400" spc="2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entre</a:t>
            </a:r>
            <a:r>
              <a:rPr sz="2400" spc="-5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a</a:t>
            </a:r>
            <a:r>
              <a:rPr sz="2400" spc="-2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la</a:t>
            </a:r>
            <a:r>
              <a:rPr sz="2400" spc="-2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tienda</a:t>
            </a:r>
            <a:r>
              <a:rPr sz="2400" spc="-8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reconozca la</a:t>
            </a:r>
            <a:r>
              <a:rPr sz="2400" spc="-2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marca</a:t>
            </a:r>
            <a:r>
              <a:rPr sz="2400" spc="6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spc="-50" dirty="0">
                <a:solidFill>
                  <a:srgbClr val="412C23"/>
                </a:solidFill>
                <a:latin typeface="Sitka Heading"/>
                <a:cs typeface="Sitka Heading"/>
              </a:rPr>
              <a:t>a</a:t>
            </a:r>
            <a:endParaRPr sz="2400" dirty="0">
              <a:latin typeface="Sitka Heading"/>
              <a:cs typeface="Sitka Heading"/>
            </a:endParaRPr>
          </a:p>
          <a:p>
            <a:pPr marL="241300">
              <a:lnSpc>
                <a:spcPct val="100000"/>
              </a:lnSpc>
              <a:spcBef>
                <a:spcPts val="50"/>
              </a:spcBef>
            </a:pP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través</a:t>
            </a:r>
            <a:r>
              <a:rPr sz="2400" spc="-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de</a:t>
            </a:r>
            <a:r>
              <a:rPr sz="2400" spc="3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la</a:t>
            </a:r>
            <a:r>
              <a:rPr sz="2400" spc="-1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forma</a:t>
            </a:r>
            <a:r>
              <a:rPr sz="2400" spc="-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de</a:t>
            </a:r>
            <a:r>
              <a:rPr sz="2400" spc="5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exponerla</a:t>
            </a:r>
            <a:r>
              <a:rPr sz="2400" spc="-13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y</a:t>
            </a:r>
            <a:r>
              <a:rPr sz="2400" spc="-1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del</a:t>
            </a:r>
            <a:r>
              <a:rPr sz="2400" spc="-2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estilo de</a:t>
            </a:r>
            <a:r>
              <a:rPr sz="2400" spc="-4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la</a:t>
            </a:r>
            <a:r>
              <a:rPr sz="2400" spc="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tienda</a:t>
            </a:r>
            <a:r>
              <a:rPr sz="2400" spc="-8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y</a:t>
            </a:r>
            <a:r>
              <a:rPr sz="2400" spc="6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las </a:t>
            </a:r>
            <a:r>
              <a:rPr sz="2400" spc="-10" dirty="0">
                <a:solidFill>
                  <a:srgbClr val="412C23"/>
                </a:solidFill>
                <a:latin typeface="Sitka Heading"/>
                <a:cs typeface="Sitka Heading"/>
              </a:rPr>
              <a:t>prendas.</a:t>
            </a:r>
            <a:endParaRPr sz="2400" dirty="0">
              <a:latin typeface="Sitka Heading"/>
              <a:cs typeface="Sitka Heading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278129" y="250190"/>
            <a:ext cx="11513185" cy="5772150"/>
          </a:xfrm>
          <a:prstGeom prst="rect">
            <a:avLst/>
          </a:prstGeom>
        </p:spPr>
        <p:txBody>
          <a:bodyPr vert="horz" wrap="square" lIns="0" tIns="49530" rIns="0" bIns="0" rtlCol="0">
            <a:spAutoFit/>
          </a:bodyPr>
          <a:lstStyle/>
          <a:p>
            <a:pPr marL="240665" marR="521334" indent="-227965">
              <a:lnSpc>
                <a:spcPct val="90000"/>
              </a:lnSpc>
              <a:spcBef>
                <a:spcPts val="390"/>
              </a:spcBef>
              <a:buClr>
                <a:srgbClr val="E18A67"/>
              </a:buClr>
              <a:buFont typeface="Calibri"/>
              <a:buChar char="-"/>
              <a:tabLst>
                <a:tab pos="240665" algn="l"/>
                <a:tab pos="241300" algn="l"/>
              </a:tabLst>
            </a:pP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Antes</a:t>
            </a:r>
            <a:r>
              <a:rPr sz="2400" spc="-10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de</a:t>
            </a:r>
            <a:r>
              <a:rPr sz="2400" spc="-5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cada</a:t>
            </a:r>
            <a:r>
              <a:rPr sz="2400" spc="5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cambio</a:t>
            </a:r>
            <a:r>
              <a:rPr sz="2400" spc="-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de</a:t>
            </a:r>
            <a:r>
              <a:rPr sz="2400" spc="-5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VM,</a:t>
            </a:r>
            <a:r>
              <a:rPr sz="2400" spc="-1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crear</a:t>
            </a:r>
            <a:r>
              <a:rPr sz="2400" spc="-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una</a:t>
            </a:r>
            <a:r>
              <a:rPr sz="2400" spc="-1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guía</a:t>
            </a:r>
            <a:r>
              <a:rPr sz="2400" spc="-9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o</a:t>
            </a:r>
            <a:r>
              <a:rPr sz="2400" spc="-1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documento</a:t>
            </a:r>
            <a:r>
              <a:rPr sz="2400" spc="1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con</a:t>
            </a:r>
            <a:r>
              <a:rPr sz="2400" spc="2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directrices</a:t>
            </a:r>
            <a:r>
              <a:rPr sz="2400" spc="-15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básicas</a:t>
            </a:r>
            <a:r>
              <a:rPr sz="2400" spc="6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spc="-25" dirty="0">
                <a:solidFill>
                  <a:srgbClr val="412C23"/>
                </a:solidFill>
                <a:latin typeface="Sitka Heading"/>
                <a:cs typeface="Sitka Heading"/>
              </a:rPr>
              <a:t>de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como</a:t>
            </a:r>
            <a:r>
              <a:rPr sz="2400" spc="-1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afrontar dicho</a:t>
            </a:r>
            <a:r>
              <a:rPr sz="2400" spc="1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cambio</a:t>
            </a:r>
            <a:r>
              <a:rPr sz="2400" spc="1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y</a:t>
            </a:r>
            <a:r>
              <a:rPr sz="2400" spc="6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añadir</a:t>
            </a:r>
            <a:r>
              <a:rPr sz="2400" spc="-6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imágenes</a:t>
            </a:r>
            <a:r>
              <a:rPr sz="2400" spc="-13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de</a:t>
            </a:r>
            <a:r>
              <a:rPr sz="2400" spc="-4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como</a:t>
            </a:r>
            <a:r>
              <a:rPr sz="2400" spc="1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debería</a:t>
            </a:r>
            <a:r>
              <a:rPr sz="2400" spc="-7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quedar</a:t>
            </a:r>
            <a:r>
              <a:rPr sz="2400" spc="1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la tienda o</a:t>
            </a:r>
            <a:r>
              <a:rPr sz="2400" spc="-7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spc="-25" dirty="0">
                <a:solidFill>
                  <a:srgbClr val="412C23"/>
                </a:solidFill>
                <a:latin typeface="Sitka Heading"/>
                <a:cs typeface="Sitka Heading"/>
              </a:rPr>
              <a:t>el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corner,</a:t>
            </a:r>
            <a:r>
              <a:rPr sz="2400" spc="-7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al</a:t>
            </a:r>
            <a:r>
              <a:rPr sz="2400" spc="-2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spc="-10" dirty="0">
                <a:solidFill>
                  <a:srgbClr val="412C23"/>
                </a:solidFill>
                <a:latin typeface="Sitka Heading"/>
                <a:cs typeface="Sitka Heading"/>
              </a:rPr>
              <a:t>finalizarlo.</a:t>
            </a:r>
            <a:endParaRPr sz="2400">
              <a:latin typeface="Sitka Heading"/>
              <a:cs typeface="Sitka Heading"/>
            </a:endParaRPr>
          </a:p>
          <a:p>
            <a:pPr>
              <a:lnSpc>
                <a:spcPct val="100000"/>
              </a:lnSpc>
              <a:spcBef>
                <a:spcPts val="70"/>
              </a:spcBef>
              <a:buClr>
                <a:srgbClr val="E18A67"/>
              </a:buClr>
              <a:buFont typeface="Calibri"/>
              <a:buChar char="-"/>
            </a:pPr>
            <a:endParaRPr sz="3150">
              <a:latin typeface="Sitka Heading"/>
              <a:cs typeface="Sitka Heading"/>
            </a:endParaRPr>
          </a:p>
          <a:p>
            <a:pPr marL="240665" marR="443865" indent="-227965">
              <a:lnSpc>
                <a:spcPct val="90000"/>
              </a:lnSpc>
              <a:buClr>
                <a:srgbClr val="E18A67"/>
              </a:buClr>
              <a:buFont typeface="Calibri"/>
              <a:buChar char="-"/>
              <a:tabLst>
                <a:tab pos="240665" algn="l"/>
                <a:tab pos="241300" algn="l"/>
              </a:tabLst>
            </a:pP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Supervisión</a:t>
            </a:r>
            <a:r>
              <a:rPr sz="2400" spc="-5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presencial</a:t>
            </a:r>
            <a:r>
              <a:rPr sz="2400" spc="-10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o</a:t>
            </a:r>
            <a:r>
              <a:rPr sz="2400" spc="-7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a</a:t>
            </a:r>
            <a:r>
              <a:rPr sz="2400" spc="6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través</a:t>
            </a:r>
            <a:r>
              <a:rPr sz="2400" spc="-1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de</a:t>
            </a:r>
            <a:r>
              <a:rPr sz="2400" spc="-4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fotografías y</a:t>
            </a:r>
            <a:r>
              <a:rPr sz="2400" spc="-2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planos,</a:t>
            </a:r>
            <a:r>
              <a:rPr sz="2400" spc="-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de</a:t>
            </a:r>
            <a:r>
              <a:rPr sz="2400" spc="-4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todos</a:t>
            </a:r>
            <a:r>
              <a:rPr sz="2400" spc="-1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los</a:t>
            </a:r>
            <a:r>
              <a:rPr sz="2400" spc="-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puntos</a:t>
            </a:r>
            <a:r>
              <a:rPr sz="2400" spc="-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de</a:t>
            </a:r>
            <a:r>
              <a:rPr sz="2400" spc="-3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spc="-10" dirty="0">
                <a:solidFill>
                  <a:srgbClr val="412C23"/>
                </a:solidFill>
                <a:latin typeface="Sitka Heading"/>
                <a:cs typeface="Sitka Heading"/>
              </a:rPr>
              <a:t>venta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después</a:t>
            </a:r>
            <a:r>
              <a:rPr sz="2400" spc="-8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de</a:t>
            </a:r>
            <a:r>
              <a:rPr sz="2400" spc="-4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cada</a:t>
            </a:r>
            <a:r>
              <a:rPr sz="2400" spc="-1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cambio</a:t>
            </a:r>
            <a:r>
              <a:rPr sz="2400" spc="7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de</a:t>
            </a:r>
            <a:r>
              <a:rPr sz="2400" spc="-5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VM, para</a:t>
            </a:r>
            <a:r>
              <a:rPr sz="2400" spc="1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asegurarse</a:t>
            </a:r>
            <a:r>
              <a:rPr sz="2400" spc="-2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del</a:t>
            </a:r>
            <a:r>
              <a:rPr sz="2400" spc="-114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correcto</a:t>
            </a:r>
            <a:r>
              <a:rPr sz="2400" spc="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cumplimiento</a:t>
            </a:r>
            <a:r>
              <a:rPr sz="2400" spc="1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de</a:t>
            </a:r>
            <a:r>
              <a:rPr sz="2400" spc="3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spc="-25" dirty="0">
                <a:solidFill>
                  <a:srgbClr val="412C23"/>
                </a:solidFill>
                <a:latin typeface="Sitka Heading"/>
                <a:cs typeface="Sitka Heading"/>
              </a:rPr>
              <a:t>los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standars de</a:t>
            </a:r>
            <a:r>
              <a:rPr sz="2400" spc="-2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spc="-10" dirty="0">
                <a:solidFill>
                  <a:srgbClr val="412C23"/>
                </a:solidFill>
                <a:latin typeface="Sitka Heading"/>
                <a:cs typeface="Sitka Heading"/>
              </a:rPr>
              <a:t>imagen.</a:t>
            </a:r>
            <a:endParaRPr sz="2400">
              <a:latin typeface="Sitka Heading"/>
              <a:cs typeface="Sitka Heading"/>
            </a:endParaRPr>
          </a:p>
          <a:p>
            <a:pPr>
              <a:lnSpc>
                <a:spcPct val="100000"/>
              </a:lnSpc>
              <a:spcBef>
                <a:spcPts val="55"/>
              </a:spcBef>
              <a:buClr>
                <a:srgbClr val="E18A67"/>
              </a:buClr>
              <a:buFont typeface="Calibri"/>
              <a:buChar char="-"/>
            </a:pPr>
            <a:endParaRPr sz="3150">
              <a:latin typeface="Sitka Heading"/>
              <a:cs typeface="Sitka Heading"/>
            </a:endParaRPr>
          </a:p>
          <a:p>
            <a:pPr marL="240665" marR="5080" indent="-227965">
              <a:lnSpc>
                <a:spcPct val="90400"/>
              </a:lnSpc>
              <a:buClr>
                <a:srgbClr val="E18A67"/>
              </a:buClr>
              <a:buFont typeface="Calibri"/>
              <a:buChar char="-"/>
              <a:tabLst>
                <a:tab pos="240665" algn="l"/>
                <a:tab pos="241300" algn="l"/>
                <a:tab pos="5483860" algn="l"/>
              </a:tabLst>
            </a:pP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Crear</a:t>
            </a:r>
            <a:r>
              <a:rPr sz="2400" spc="-10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un</a:t>
            </a:r>
            <a:r>
              <a:rPr sz="2400" spc="2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"check</a:t>
            </a:r>
            <a:r>
              <a:rPr sz="2400" spc="-2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list"</a:t>
            </a:r>
            <a:r>
              <a:rPr sz="2400" spc="3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con</a:t>
            </a:r>
            <a:r>
              <a:rPr sz="2400" spc="-1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todos</a:t>
            </a:r>
            <a:r>
              <a:rPr sz="2400" spc="-2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los</a:t>
            </a:r>
            <a:r>
              <a:rPr sz="2400" spc="-2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aspectos</a:t>
            </a:r>
            <a:r>
              <a:rPr sz="2400" spc="-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relacionados</a:t>
            </a:r>
            <a:r>
              <a:rPr sz="2400" spc="-7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con</a:t>
            </a:r>
            <a:r>
              <a:rPr sz="2400" spc="2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la</a:t>
            </a:r>
            <a:r>
              <a:rPr sz="2400" spc="4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imagen</a:t>
            </a:r>
            <a:r>
              <a:rPr sz="2400" spc="-13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de</a:t>
            </a:r>
            <a:r>
              <a:rPr sz="2400" spc="1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spc="-25" dirty="0">
                <a:solidFill>
                  <a:srgbClr val="412C23"/>
                </a:solidFill>
                <a:latin typeface="Sitka Heading"/>
                <a:cs typeface="Sitka Heading"/>
              </a:rPr>
              <a:t>la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tienda/corner</a:t>
            </a:r>
            <a:r>
              <a:rPr sz="2400" spc="-229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y</a:t>
            </a:r>
            <a:r>
              <a:rPr sz="2400" spc="4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sus</a:t>
            </a:r>
            <a:r>
              <a:rPr sz="2400" spc="-2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escaparates</a:t>
            </a:r>
            <a:r>
              <a:rPr sz="2400" spc="-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si</a:t>
            </a:r>
            <a:r>
              <a:rPr sz="2400" spc="-6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los</a:t>
            </a:r>
            <a:r>
              <a:rPr sz="2400" spc="7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hubiera,</a:t>
            </a:r>
            <a:r>
              <a:rPr sz="2400" spc="-1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para</a:t>
            </a:r>
            <a:r>
              <a:rPr sz="2400" spc="-2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que</a:t>
            </a:r>
            <a:r>
              <a:rPr sz="2400" spc="2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sea</a:t>
            </a:r>
            <a:r>
              <a:rPr sz="2400" spc="-10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rellenado</a:t>
            </a:r>
            <a:r>
              <a:rPr sz="2400" spc="-6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todas</a:t>
            </a:r>
            <a:r>
              <a:rPr sz="2400" spc="-1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las</a:t>
            </a:r>
            <a:r>
              <a:rPr sz="2400" spc="6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spc="-10" dirty="0">
                <a:solidFill>
                  <a:srgbClr val="412C23"/>
                </a:solidFill>
                <a:latin typeface="Sitka Heading"/>
                <a:cs typeface="Sitka Heading"/>
              </a:rPr>
              <a:t>mañanas,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antes de</a:t>
            </a:r>
            <a:r>
              <a:rPr sz="2400" spc="-2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abrir,</a:t>
            </a:r>
            <a:r>
              <a:rPr sz="2400" spc="1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por</a:t>
            </a:r>
            <a:r>
              <a:rPr sz="2400" spc="-4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la</a:t>
            </a:r>
            <a:r>
              <a:rPr sz="2400" spc="8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persona</a:t>
            </a:r>
            <a:r>
              <a:rPr sz="2400" spc="-14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spc="-10" dirty="0">
                <a:solidFill>
                  <a:srgbClr val="412C23"/>
                </a:solidFill>
                <a:latin typeface="Sitka Heading"/>
                <a:cs typeface="Sitka Heading"/>
              </a:rPr>
              <a:t>encargada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	y</a:t>
            </a:r>
            <a:r>
              <a:rPr sz="2400" spc="3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revisión</a:t>
            </a:r>
            <a:r>
              <a:rPr sz="2400" spc="-11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de</a:t>
            </a:r>
            <a:r>
              <a:rPr sz="2400" spc="-5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dichos</a:t>
            </a:r>
            <a:r>
              <a:rPr sz="2400" spc="-2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"check</a:t>
            </a:r>
            <a:r>
              <a:rPr sz="2400" spc="5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list"</a:t>
            </a:r>
            <a:r>
              <a:rPr sz="2400" spc="2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en</a:t>
            </a:r>
            <a:r>
              <a:rPr sz="2400" spc="-5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cada</a:t>
            </a:r>
            <a:r>
              <a:rPr sz="2400" spc="-2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visita</a:t>
            </a:r>
            <a:r>
              <a:rPr sz="2400" spc="4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spc="-50" dirty="0">
                <a:solidFill>
                  <a:srgbClr val="412C23"/>
                </a:solidFill>
                <a:latin typeface="Sitka Heading"/>
                <a:cs typeface="Sitka Heading"/>
              </a:rPr>
              <a:t>a </a:t>
            </a:r>
            <a:r>
              <a:rPr sz="2400" spc="-10" dirty="0">
                <a:solidFill>
                  <a:srgbClr val="412C23"/>
                </a:solidFill>
                <a:latin typeface="Sitka Heading"/>
                <a:cs typeface="Sitka Heading"/>
              </a:rPr>
              <a:t>tienda.</a:t>
            </a:r>
            <a:endParaRPr sz="2400">
              <a:latin typeface="Sitka Heading"/>
              <a:cs typeface="Sitka Heading"/>
            </a:endParaRPr>
          </a:p>
          <a:p>
            <a:pPr>
              <a:lnSpc>
                <a:spcPct val="100000"/>
              </a:lnSpc>
              <a:spcBef>
                <a:spcPts val="65"/>
              </a:spcBef>
              <a:buClr>
                <a:srgbClr val="E18A67"/>
              </a:buClr>
              <a:buFont typeface="Calibri"/>
              <a:buChar char="-"/>
            </a:pPr>
            <a:endParaRPr sz="2900">
              <a:latin typeface="Sitka Heading"/>
              <a:cs typeface="Sitka Heading"/>
            </a:endParaRPr>
          </a:p>
          <a:p>
            <a:pPr marL="240665" indent="-227965">
              <a:lnSpc>
                <a:spcPts val="2755"/>
              </a:lnSpc>
              <a:buClr>
                <a:srgbClr val="E18A67"/>
              </a:buClr>
              <a:buFont typeface="Calibri"/>
              <a:buChar char="-"/>
              <a:tabLst>
                <a:tab pos="240665" algn="l"/>
                <a:tab pos="241300" algn="l"/>
              </a:tabLst>
            </a:pP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Formación</a:t>
            </a:r>
            <a:r>
              <a:rPr sz="2400" spc="-4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constante</a:t>
            </a:r>
            <a:r>
              <a:rPr sz="2400" spc="4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de</a:t>
            </a:r>
            <a:r>
              <a:rPr sz="2400" spc="-4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la</a:t>
            </a:r>
            <a:r>
              <a:rPr sz="2400" spc="6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persona/personas</a:t>
            </a:r>
            <a:r>
              <a:rPr sz="2400" spc="-12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encargadas</a:t>
            </a:r>
            <a:r>
              <a:rPr sz="2400" spc="-7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de</a:t>
            </a:r>
            <a:r>
              <a:rPr sz="2400" spc="-3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mantener</a:t>
            </a:r>
            <a:r>
              <a:rPr sz="2400" spc="-5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la</a:t>
            </a:r>
            <a:r>
              <a:rPr sz="2400" spc="-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imagen</a:t>
            </a:r>
            <a:r>
              <a:rPr sz="2400" spc="-5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de</a:t>
            </a:r>
            <a:r>
              <a:rPr sz="2400" spc="-4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spc="-25" dirty="0">
                <a:solidFill>
                  <a:srgbClr val="412C23"/>
                </a:solidFill>
                <a:latin typeface="Sitka Heading"/>
                <a:cs typeface="Sitka Heading"/>
              </a:rPr>
              <a:t>la</a:t>
            </a:r>
            <a:endParaRPr sz="2400">
              <a:latin typeface="Sitka Heading"/>
              <a:cs typeface="Sitka Heading"/>
            </a:endParaRPr>
          </a:p>
          <a:p>
            <a:pPr marL="241300">
              <a:lnSpc>
                <a:spcPts val="2755"/>
              </a:lnSpc>
            </a:pP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tienda</a:t>
            </a:r>
            <a:r>
              <a:rPr sz="2400" spc="-2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spc="-10" dirty="0">
                <a:solidFill>
                  <a:srgbClr val="412C23"/>
                </a:solidFill>
                <a:latin typeface="Sitka Heading"/>
                <a:cs typeface="Sitka Heading"/>
              </a:rPr>
              <a:t>diariamente.</a:t>
            </a:r>
            <a:endParaRPr sz="2400">
              <a:latin typeface="Sitka Heading"/>
              <a:cs typeface="Sitka Heading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337820" y="438086"/>
            <a:ext cx="11459845" cy="5513689"/>
          </a:xfrm>
          <a:prstGeom prst="rect">
            <a:avLst/>
          </a:prstGeom>
        </p:spPr>
        <p:txBody>
          <a:bodyPr vert="horz" wrap="square" lIns="0" tIns="50165" rIns="0" bIns="0" rtlCol="0">
            <a:spAutoFit/>
          </a:bodyPr>
          <a:lstStyle/>
          <a:p>
            <a:pPr marL="240665" marR="379730" indent="-227965">
              <a:lnSpc>
                <a:spcPts val="2630"/>
              </a:lnSpc>
              <a:spcBef>
                <a:spcPts val="395"/>
              </a:spcBef>
              <a:buClr>
                <a:srgbClr val="E18A67"/>
              </a:buClr>
              <a:buFont typeface="Calibri"/>
              <a:buChar char="-"/>
              <a:tabLst>
                <a:tab pos="240665" algn="l"/>
                <a:tab pos="241300" algn="l"/>
              </a:tabLst>
            </a:pP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Para</a:t>
            </a:r>
            <a:r>
              <a:rPr sz="2400" spc="-1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asegurar</a:t>
            </a:r>
            <a:r>
              <a:rPr sz="2400" spc="-6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un</a:t>
            </a:r>
            <a:r>
              <a:rPr sz="2400" spc="3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correcto funcionamiento</a:t>
            </a:r>
            <a:r>
              <a:rPr sz="2400" spc="-14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de</a:t>
            </a:r>
            <a:r>
              <a:rPr sz="2400" spc="3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las</a:t>
            </a:r>
            <a:r>
              <a:rPr sz="2400" spc="-1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estrategias</a:t>
            </a:r>
            <a:r>
              <a:rPr sz="2400" spc="2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de</a:t>
            </a:r>
            <a:r>
              <a:rPr sz="2400" spc="-4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VM, es</a:t>
            </a:r>
            <a:r>
              <a:rPr sz="2400" spc="-6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spc="-10" dirty="0">
                <a:solidFill>
                  <a:srgbClr val="412C23"/>
                </a:solidFill>
                <a:latin typeface="Sitka Heading"/>
                <a:cs typeface="Sitka Heading"/>
              </a:rPr>
              <a:t>imprescindible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mantener</a:t>
            </a:r>
            <a:r>
              <a:rPr sz="2400" spc="-6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una</a:t>
            </a:r>
            <a:r>
              <a:rPr sz="2400" spc="-2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comunicación</a:t>
            </a:r>
            <a:r>
              <a:rPr sz="2400" spc="-2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b="1" dirty="0">
                <a:solidFill>
                  <a:srgbClr val="412C23"/>
                </a:solidFill>
                <a:latin typeface="Sitka Heading"/>
                <a:cs typeface="Sitka Heading"/>
              </a:rPr>
              <a:t>diaria y</a:t>
            </a:r>
            <a:r>
              <a:rPr sz="2400" b="1" spc="-2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b="1" dirty="0">
                <a:solidFill>
                  <a:srgbClr val="412C23"/>
                </a:solidFill>
                <a:latin typeface="Sitka Heading"/>
                <a:cs typeface="Sitka Heading"/>
              </a:rPr>
              <a:t>fluida</a:t>
            </a:r>
            <a:r>
              <a:rPr sz="2400" b="1" spc="-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con</a:t>
            </a:r>
            <a:r>
              <a:rPr sz="2400" spc="3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los</a:t>
            </a:r>
            <a:r>
              <a:rPr sz="2400" spc="-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equipo</a:t>
            </a:r>
            <a:r>
              <a:rPr sz="2400" spc="-6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de</a:t>
            </a:r>
            <a:r>
              <a:rPr sz="2400" spc="3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 err="1">
                <a:solidFill>
                  <a:srgbClr val="412C23"/>
                </a:solidFill>
                <a:latin typeface="Sitka Heading"/>
                <a:cs typeface="Sitka Heading"/>
              </a:rPr>
              <a:t>ventas</a:t>
            </a:r>
            <a:r>
              <a:rPr sz="2400" spc="-10" dirty="0">
                <a:solidFill>
                  <a:srgbClr val="412C23"/>
                </a:solidFill>
                <a:latin typeface="Sitka Heading"/>
                <a:cs typeface="Sitka Heading"/>
              </a:rPr>
              <a:t>.</a:t>
            </a:r>
            <a:endParaRPr sz="2400" dirty="0">
              <a:latin typeface="Sitka Heading"/>
              <a:cs typeface="Sitka Heading"/>
            </a:endParaRPr>
          </a:p>
          <a:p>
            <a:pPr>
              <a:lnSpc>
                <a:spcPct val="100000"/>
              </a:lnSpc>
              <a:spcBef>
                <a:spcPts val="5"/>
              </a:spcBef>
              <a:buClr>
                <a:srgbClr val="E18A67"/>
              </a:buClr>
              <a:buFont typeface="Calibri"/>
              <a:buChar char="-"/>
            </a:pPr>
            <a:endParaRPr sz="3100" dirty="0">
              <a:latin typeface="Sitka Heading"/>
              <a:cs typeface="Sitka Heading"/>
            </a:endParaRPr>
          </a:p>
          <a:p>
            <a:pPr marL="240665" marR="5080" indent="-227965">
              <a:lnSpc>
                <a:spcPct val="90400"/>
              </a:lnSpc>
              <a:spcBef>
                <a:spcPts val="5"/>
              </a:spcBef>
              <a:buClr>
                <a:srgbClr val="E18A67"/>
              </a:buClr>
              <a:buFont typeface="Calibri"/>
              <a:buChar char="-"/>
              <a:tabLst>
                <a:tab pos="240665" algn="l"/>
                <a:tab pos="241300" algn="l"/>
              </a:tabLst>
            </a:pPr>
            <a:r>
              <a:rPr lang="es-ES" sz="2400" dirty="0">
                <a:solidFill>
                  <a:srgbClr val="412C23"/>
                </a:solidFill>
                <a:latin typeface="Sitka Heading"/>
                <a:cs typeface="Sitka Heading"/>
              </a:rPr>
              <a:t>E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l</a:t>
            </a:r>
            <a:r>
              <a:rPr sz="2400" spc="-4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equipo de</a:t>
            </a:r>
            <a:r>
              <a:rPr sz="2400" spc="-4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spc="-10" dirty="0">
                <a:solidFill>
                  <a:srgbClr val="412C23"/>
                </a:solidFill>
                <a:latin typeface="Sitka Heading"/>
                <a:cs typeface="Sitka Heading"/>
              </a:rPr>
              <a:t>ventas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organizará</a:t>
            </a:r>
            <a:r>
              <a:rPr sz="2400" spc="-8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equipos</a:t>
            </a:r>
            <a:r>
              <a:rPr sz="2400" spc="-6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y</a:t>
            </a:r>
            <a:r>
              <a:rPr sz="2400" spc="-1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tiendas</a:t>
            </a:r>
            <a:r>
              <a:rPr sz="2400" spc="-8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para que</a:t>
            </a:r>
            <a:r>
              <a:rPr sz="2400" spc="3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se</a:t>
            </a:r>
            <a:r>
              <a:rPr sz="2400" spc="6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puedan</a:t>
            </a:r>
            <a:r>
              <a:rPr sz="2400" spc="-11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implantar</a:t>
            </a:r>
            <a:r>
              <a:rPr sz="2400" spc="8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dichas</a:t>
            </a:r>
            <a:r>
              <a:rPr sz="2400" spc="-1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estrategias</a:t>
            </a:r>
            <a:r>
              <a:rPr sz="2400" spc="-1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y</a:t>
            </a:r>
            <a:r>
              <a:rPr sz="2400" spc="-1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el</a:t>
            </a:r>
            <a:r>
              <a:rPr sz="2400" spc="-3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VM </a:t>
            </a:r>
            <a:r>
              <a:rPr lang="es-ES" sz="2400" spc="-25" dirty="0">
                <a:solidFill>
                  <a:srgbClr val="412C23"/>
                </a:solidFill>
                <a:latin typeface="Sitka Heading"/>
                <a:cs typeface="Sitka Heading"/>
              </a:rPr>
              <a:t>Regional </a:t>
            </a:r>
            <a:r>
              <a:rPr sz="2400" spc="-8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deberá</a:t>
            </a:r>
            <a:r>
              <a:rPr sz="2400" spc="-6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asegurarse</a:t>
            </a:r>
            <a:r>
              <a:rPr sz="2400" spc="-3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de</a:t>
            </a:r>
            <a:r>
              <a:rPr sz="2400" spc="-4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que</a:t>
            </a:r>
            <a:r>
              <a:rPr sz="2400" spc="3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cada</a:t>
            </a:r>
            <a:r>
              <a:rPr sz="2400" spc="7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tienda</a:t>
            </a:r>
            <a:r>
              <a:rPr sz="2400" spc="-8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sepa</a:t>
            </a:r>
            <a:r>
              <a:rPr sz="2400" spc="-8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como</a:t>
            </a:r>
            <a:r>
              <a:rPr sz="2400" spc="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desarrollar</a:t>
            </a:r>
            <a:r>
              <a:rPr sz="2400" spc="1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dichos</a:t>
            </a:r>
            <a:r>
              <a:rPr sz="2400" spc="-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cambios</a:t>
            </a:r>
            <a:r>
              <a:rPr sz="2400" spc="6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spc="-20" dirty="0">
                <a:solidFill>
                  <a:srgbClr val="412C23"/>
                </a:solidFill>
                <a:latin typeface="Sitka Heading"/>
                <a:cs typeface="Sitka Heading"/>
              </a:rPr>
              <a:t>para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que se</a:t>
            </a:r>
            <a:r>
              <a:rPr sz="2400" spc="-5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hagan</a:t>
            </a:r>
            <a:r>
              <a:rPr sz="2400" spc="1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lo</a:t>
            </a:r>
            <a:r>
              <a:rPr sz="2400" spc="-1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mejor y</a:t>
            </a:r>
            <a:r>
              <a:rPr sz="2400" spc="-3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más</a:t>
            </a:r>
            <a:r>
              <a:rPr sz="2400" spc="-2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rápidamente</a:t>
            </a:r>
            <a:r>
              <a:rPr sz="2400" spc="-4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spc="-10" dirty="0">
                <a:solidFill>
                  <a:srgbClr val="412C23"/>
                </a:solidFill>
                <a:latin typeface="Sitka Heading"/>
                <a:cs typeface="Sitka Heading"/>
              </a:rPr>
              <a:t>posible.</a:t>
            </a:r>
            <a:endParaRPr sz="2400" dirty="0">
              <a:latin typeface="Sitka Heading"/>
              <a:cs typeface="Sitka Heading"/>
            </a:endParaRPr>
          </a:p>
          <a:p>
            <a:pPr>
              <a:lnSpc>
                <a:spcPct val="100000"/>
              </a:lnSpc>
              <a:spcBef>
                <a:spcPts val="65"/>
              </a:spcBef>
              <a:buClr>
                <a:srgbClr val="E18A67"/>
              </a:buClr>
              <a:buFont typeface="Calibri"/>
              <a:buChar char="-"/>
            </a:pPr>
            <a:endParaRPr sz="3150" dirty="0">
              <a:latin typeface="Sitka Heading"/>
              <a:cs typeface="Sitka Heading"/>
            </a:endParaRPr>
          </a:p>
          <a:p>
            <a:pPr marL="240665" marR="75565" indent="-227965">
              <a:lnSpc>
                <a:spcPct val="90000"/>
              </a:lnSpc>
              <a:buClr>
                <a:srgbClr val="E18A67"/>
              </a:buClr>
              <a:buFont typeface="Calibri"/>
              <a:buChar char="-"/>
              <a:tabLst>
                <a:tab pos="240665" algn="l"/>
                <a:tab pos="241300" algn="l"/>
              </a:tabLst>
            </a:pP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No</a:t>
            </a:r>
            <a:r>
              <a:rPr sz="2400" spc="-1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es</a:t>
            </a:r>
            <a:r>
              <a:rPr sz="2400" spc="-8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posible</a:t>
            </a:r>
            <a:r>
              <a:rPr sz="2400" spc="4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desarrollar un</a:t>
            </a:r>
            <a:r>
              <a:rPr sz="2400" spc="-4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buen</a:t>
            </a:r>
            <a:r>
              <a:rPr sz="2400" spc="3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VM</a:t>
            </a:r>
            <a:r>
              <a:rPr sz="2400" spc="-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sin</a:t>
            </a:r>
            <a:r>
              <a:rPr sz="2400" spc="-5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el</a:t>
            </a:r>
            <a:r>
              <a:rPr sz="2400" spc="-4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apoyo</a:t>
            </a:r>
            <a:r>
              <a:rPr sz="2400" spc="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tanto</a:t>
            </a:r>
            <a:r>
              <a:rPr sz="2400" spc="-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de</a:t>
            </a:r>
            <a:r>
              <a:rPr sz="2400" spc="-4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los</a:t>
            </a:r>
            <a:r>
              <a:rPr sz="2400" spc="7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equipos</a:t>
            </a:r>
            <a:r>
              <a:rPr sz="2400" spc="-8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de</a:t>
            </a:r>
            <a:r>
              <a:rPr sz="2400" spc="-5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tiendas</a:t>
            </a:r>
            <a:r>
              <a:rPr sz="2400" spc="-6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spc="-20" dirty="0">
                <a:solidFill>
                  <a:srgbClr val="412C23"/>
                </a:solidFill>
                <a:latin typeface="Sitka Heading"/>
                <a:cs typeface="Sitka Heading"/>
              </a:rPr>
              <a:t>como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de</a:t>
            </a:r>
            <a:r>
              <a:rPr sz="2400" spc="-6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los</a:t>
            </a:r>
            <a:r>
              <a:rPr sz="2400" spc="-1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responsables</a:t>
            </a:r>
            <a:r>
              <a:rPr sz="2400" spc="-7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de</a:t>
            </a:r>
            <a:r>
              <a:rPr sz="2400" spc="2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ventas.</a:t>
            </a:r>
            <a:r>
              <a:rPr sz="2400" spc="-1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El</a:t>
            </a:r>
            <a:r>
              <a:rPr sz="2400" spc="-4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objetivo de</a:t>
            </a:r>
            <a:r>
              <a:rPr sz="2400" spc="-5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ambos</a:t>
            </a:r>
            <a:r>
              <a:rPr sz="2400" spc="7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departamentos</a:t>
            </a:r>
            <a:r>
              <a:rPr sz="2400" spc="-6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es</a:t>
            </a:r>
            <a:r>
              <a:rPr sz="2400" spc="-1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el</a:t>
            </a:r>
            <a:r>
              <a:rPr sz="2400" spc="-4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mismo,</a:t>
            </a:r>
            <a:r>
              <a:rPr sz="2400" spc="-1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sacar</a:t>
            </a:r>
            <a:r>
              <a:rPr sz="2400" spc="7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spc="-25" dirty="0">
                <a:solidFill>
                  <a:srgbClr val="412C23"/>
                </a:solidFill>
                <a:latin typeface="Sitka Heading"/>
                <a:cs typeface="Sitka Heading"/>
              </a:rPr>
              <a:t>la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máxima</a:t>
            </a:r>
            <a:r>
              <a:rPr sz="2400" spc="-2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rentabilidad</a:t>
            </a:r>
            <a:r>
              <a:rPr sz="2400" spc="-3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a</a:t>
            </a:r>
            <a:r>
              <a:rPr sz="2400" spc="-1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cada</a:t>
            </a:r>
            <a:r>
              <a:rPr sz="2400" spc="6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punto</a:t>
            </a:r>
            <a:r>
              <a:rPr sz="2400" spc="-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de</a:t>
            </a:r>
            <a:r>
              <a:rPr sz="2400" spc="-3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spc="-10" dirty="0">
                <a:solidFill>
                  <a:srgbClr val="412C23"/>
                </a:solidFill>
                <a:latin typeface="Sitka Heading"/>
                <a:cs typeface="Sitka Heading"/>
              </a:rPr>
              <a:t>venta.</a:t>
            </a:r>
            <a:endParaRPr sz="2400" dirty="0">
              <a:latin typeface="Sitka Heading"/>
              <a:cs typeface="Sitka Heading"/>
            </a:endParaRPr>
          </a:p>
          <a:p>
            <a:pPr>
              <a:lnSpc>
                <a:spcPct val="100000"/>
              </a:lnSpc>
              <a:spcBef>
                <a:spcPts val="55"/>
              </a:spcBef>
              <a:buClr>
                <a:srgbClr val="E18A67"/>
              </a:buClr>
              <a:buFont typeface="Calibri"/>
              <a:buChar char="-"/>
            </a:pPr>
            <a:endParaRPr sz="3150" dirty="0">
              <a:latin typeface="Sitka Heading"/>
              <a:cs typeface="Sitka Heading"/>
            </a:endParaRPr>
          </a:p>
          <a:p>
            <a:pPr marL="240665" marR="136525" indent="-227965">
              <a:lnSpc>
                <a:spcPct val="90400"/>
              </a:lnSpc>
              <a:buClr>
                <a:srgbClr val="E18A67"/>
              </a:buClr>
              <a:buFont typeface="Calibri"/>
              <a:buChar char="-"/>
              <a:tabLst>
                <a:tab pos="240665" algn="l"/>
                <a:tab pos="241300" algn="l"/>
              </a:tabLst>
            </a:pP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Como</a:t>
            </a:r>
            <a:r>
              <a:rPr sz="2400" spc="-1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responsable</a:t>
            </a:r>
            <a:r>
              <a:rPr sz="2400" spc="-3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de</a:t>
            </a:r>
            <a:r>
              <a:rPr sz="2400" spc="-5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VM,</a:t>
            </a:r>
            <a:r>
              <a:rPr sz="2400" spc="-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hay</a:t>
            </a:r>
            <a:r>
              <a:rPr sz="2400" spc="-2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que</a:t>
            </a:r>
            <a:r>
              <a:rPr sz="2400" spc="4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conocer</a:t>
            </a:r>
            <a:r>
              <a:rPr sz="2400" spc="-7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perfectamente</a:t>
            </a:r>
            <a:r>
              <a:rPr sz="2400" spc="-5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el</a:t>
            </a:r>
            <a:r>
              <a:rPr sz="2400" spc="-4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calendario</a:t>
            </a:r>
            <a:r>
              <a:rPr sz="2400" spc="-6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de</a:t>
            </a:r>
            <a:r>
              <a:rPr sz="2400" spc="3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cambios</a:t>
            </a:r>
            <a:r>
              <a:rPr sz="2400" spc="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spc="-25" dirty="0">
                <a:solidFill>
                  <a:srgbClr val="412C23"/>
                </a:solidFill>
                <a:latin typeface="Sitka Heading"/>
                <a:cs typeface="Sitka Heading"/>
              </a:rPr>
              <a:t>de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tienda</a:t>
            </a:r>
            <a:r>
              <a:rPr sz="2400" spc="-10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que</a:t>
            </a:r>
            <a:r>
              <a:rPr sz="2400" spc="4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 err="1">
                <a:solidFill>
                  <a:srgbClr val="412C23"/>
                </a:solidFill>
                <a:latin typeface="Sitka Heading"/>
                <a:cs typeface="Sitka Heading"/>
              </a:rPr>
              <a:t>ya</a:t>
            </a:r>
            <a:r>
              <a:rPr sz="2400" spc="-2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lang="es-ES" sz="2400" spc="-20" dirty="0">
                <a:solidFill>
                  <a:srgbClr val="412C23"/>
                </a:solidFill>
                <a:latin typeface="Sitka Heading"/>
                <a:cs typeface="Sitka Heading"/>
              </a:rPr>
              <a:t>vendrán marcado por el Retail Calendar</a:t>
            </a:r>
            <a:r>
              <a:rPr sz="2400" spc="-6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(como San</a:t>
            </a:r>
            <a:r>
              <a:rPr sz="2400" spc="2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Valentín,</a:t>
            </a:r>
            <a:r>
              <a:rPr sz="2400" spc="-8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Navidad,</a:t>
            </a:r>
            <a:r>
              <a:rPr sz="2400" spc="-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Día</a:t>
            </a:r>
            <a:r>
              <a:rPr sz="2400" spc="-9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de</a:t>
            </a:r>
            <a:r>
              <a:rPr sz="2400" spc="3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spc="-25" dirty="0">
                <a:solidFill>
                  <a:srgbClr val="412C23"/>
                </a:solidFill>
                <a:latin typeface="Sitka Heading"/>
                <a:cs typeface="Sitka Heading"/>
              </a:rPr>
              <a:t>la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madre...)</a:t>
            </a:r>
            <a:r>
              <a:rPr sz="2400" spc="-7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para</a:t>
            </a:r>
            <a:r>
              <a:rPr sz="2400" spc="1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preveer</a:t>
            </a:r>
            <a:r>
              <a:rPr sz="2400" spc="-5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en</a:t>
            </a:r>
            <a:r>
              <a:rPr sz="2400" spc="-4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que</a:t>
            </a:r>
            <a:r>
              <a:rPr sz="2400" spc="4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momento</a:t>
            </a:r>
            <a:r>
              <a:rPr sz="2400" spc="-7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será</a:t>
            </a:r>
            <a:r>
              <a:rPr sz="2400" spc="-1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mejor</a:t>
            </a:r>
            <a:r>
              <a:rPr sz="2400" spc="-5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hacer</a:t>
            </a:r>
            <a:r>
              <a:rPr sz="2400" spc="1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los</a:t>
            </a:r>
            <a:r>
              <a:rPr sz="2400" spc="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cambios</a:t>
            </a:r>
            <a:r>
              <a:rPr sz="2400" spc="8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de</a:t>
            </a:r>
            <a:r>
              <a:rPr sz="2400" spc="-4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tienda</a:t>
            </a:r>
            <a:r>
              <a:rPr sz="2400" spc="-8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y</a:t>
            </a:r>
            <a:r>
              <a:rPr sz="2400" spc="8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spc="-10" dirty="0">
                <a:solidFill>
                  <a:srgbClr val="412C23"/>
                </a:solidFill>
                <a:latin typeface="Sitka Heading"/>
                <a:cs typeface="Sitka Heading"/>
              </a:rPr>
              <a:t>poder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organizarlo</a:t>
            </a:r>
            <a:r>
              <a:rPr sz="2400" spc="-6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con</a:t>
            </a:r>
            <a:r>
              <a:rPr sz="2400" spc="-3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el</a:t>
            </a:r>
            <a:r>
              <a:rPr sz="2400" spc="-3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equipo</a:t>
            </a:r>
            <a:r>
              <a:rPr sz="2400" spc="2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de</a:t>
            </a:r>
            <a:r>
              <a:rPr sz="2400" spc="-3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spc="-10" dirty="0">
                <a:solidFill>
                  <a:srgbClr val="412C23"/>
                </a:solidFill>
                <a:latin typeface="Sitka Heading"/>
                <a:cs typeface="Sitka Heading"/>
              </a:rPr>
              <a:t>ventas.</a:t>
            </a:r>
            <a:endParaRPr sz="2400" dirty="0">
              <a:latin typeface="Sitka Heading"/>
              <a:cs typeface="Sitka Heading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305434" y="354393"/>
            <a:ext cx="11545570" cy="53670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41300" marR="5080" indent="-229235">
              <a:lnSpc>
                <a:spcPct val="109500"/>
              </a:lnSpc>
              <a:spcBef>
                <a:spcPts val="100"/>
              </a:spcBef>
              <a:buClr>
                <a:srgbClr val="E18A67"/>
              </a:buClr>
              <a:buFont typeface="Calibri"/>
              <a:buChar char="-"/>
              <a:tabLst>
                <a:tab pos="241300" algn="l"/>
                <a:tab pos="241935" algn="l"/>
              </a:tabLst>
            </a:pP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El</a:t>
            </a:r>
            <a:r>
              <a:rPr sz="2400" spc="2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contacto</a:t>
            </a:r>
            <a:r>
              <a:rPr sz="2400" spc="6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diario</a:t>
            </a:r>
            <a:r>
              <a:rPr sz="2400" spc="-14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con</a:t>
            </a:r>
            <a:r>
              <a:rPr sz="2400" spc="3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los</a:t>
            </a:r>
            <a:r>
              <a:rPr sz="2400" spc="-2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resposables</a:t>
            </a:r>
            <a:r>
              <a:rPr sz="2400" spc="-1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de</a:t>
            </a:r>
            <a:r>
              <a:rPr sz="2400" spc="-5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tienda</a:t>
            </a:r>
            <a:r>
              <a:rPr sz="2400" spc="-9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es</a:t>
            </a:r>
            <a:r>
              <a:rPr sz="2400" spc="-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muy</a:t>
            </a:r>
            <a:r>
              <a:rPr sz="2400" spc="-2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importante</a:t>
            </a:r>
            <a:r>
              <a:rPr sz="2400" spc="4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para estar al</a:t>
            </a:r>
            <a:r>
              <a:rPr sz="2400" spc="3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día</a:t>
            </a:r>
            <a:r>
              <a:rPr sz="2400" spc="-8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spc="-25" dirty="0">
                <a:solidFill>
                  <a:srgbClr val="412C23"/>
                </a:solidFill>
                <a:latin typeface="Sitka Heading"/>
                <a:cs typeface="Sitka Heading"/>
              </a:rPr>
              <a:t>de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posibles</a:t>
            </a:r>
            <a:r>
              <a:rPr sz="2400" spc="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necesidades</a:t>
            </a:r>
            <a:r>
              <a:rPr sz="2400" spc="-229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de</a:t>
            </a:r>
            <a:r>
              <a:rPr sz="2400" spc="-3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las</a:t>
            </a:r>
            <a:r>
              <a:rPr sz="2400" spc="7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tiendas</a:t>
            </a:r>
            <a:r>
              <a:rPr sz="2400" spc="-5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en</a:t>
            </a:r>
            <a:r>
              <a:rPr sz="2400" spc="-4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cuanto</a:t>
            </a:r>
            <a:r>
              <a:rPr sz="2400" spc="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a</a:t>
            </a:r>
            <a:r>
              <a:rPr sz="2400" spc="7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materiales,</a:t>
            </a:r>
            <a:r>
              <a:rPr sz="2400" spc="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perfilados</a:t>
            </a:r>
            <a:r>
              <a:rPr sz="2400" spc="-5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o</a:t>
            </a:r>
            <a:r>
              <a:rPr sz="2400" spc="1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cualquier duda </a:t>
            </a:r>
            <a:r>
              <a:rPr sz="2400" spc="-25" dirty="0">
                <a:solidFill>
                  <a:srgbClr val="412C23"/>
                </a:solidFill>
                <a:latin typeface="Sitka Heading"/>
                <a:cs typeface="Sitka Heading"/>
              </a:rPr>
              <a:t>de VM.</a:t>
            </a:r>
            <a:endParaRPr sz="2400">
              <a:latin typeface="Sitka Heading"/>
              <a:cs typeface="Sitka Heading"/>
            </a:endParaRPr>
          </a:p>
          <a:p>
            <a:pPr>
              <a:lnSpc>
                <a:spcPct val="100000"/>
              </a:lnSpc>
              <a:spcBef>
                <a:spcPts val="10"/>
              </a:spcBef>
              <a:buClr>
                <a:srgbClr val="E18A67"/>
              </a:buClr>
              <a:buFont typeface="Calibri"/>
              <a:buChar char="-"/>
            </a:pPr>
            <a:endParaRPr sz="3550">
              <a:latin typeface="Sitka Heading"/>
              <a:cs typeface="Sitka Heading"/>
            </a:endParaRPr>
          </a:p>
          <a:p>
            <a:pPr marL="241300" marR="220345" indent="-229235">
              <a:lnSpc>
                <a:spcPct val="110900"/>
              </a:lnSpc>
              <a:spcBef>
                <a:spcPts val="5"/>
              </a:spcBef>
              <a:buClr>
                <a:srgbClr val="E18A67"/>
              </a:buClr>
              <a:buFont typeface="Calibri"/>
              <a:buChar char="-"/>
              <a:tabLst>
                <a:tab pos="241300" algn="l"/>
                <a:tab pos="241935" algn="l"/>
              </a:tabLst>
            </a:pP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Si</a:t>
            </a:r>
            <a:r>
              <a:rPr sz="2400" spc="-1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detectamos</a:t>
            </a:r>
            <a:r>
              <a:rPr sz="2400" spc="-2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fallos</a:t>
            </a:r>
            <a:r>
              <a:rPr sz="2400" spc="5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de</a:t>
            </a:r>
            <a:r>
              <a:rPr sz="2400" spc="-6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surtidos</a:t>
            </a:r>
            <a:r>
              <a:rPr sz="2400" spc="-1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o</a:t>
            </a:r>
            <a:r>
              <a:rPr sz="2400" spc="-1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tallaje,</a:t>
            </a:r>
            <a:r>
              <a:rPr sz="2400" spc="4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es</a:t>
            </a:r>
            <a:r>
              <a:rPr sz="2400" spc="-9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obligación</a:t>
            </a:r>
            <a:r>
              <a:rPr sz="2400" spc="2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nuestra</a:t>
            </a:r>
            <a:r>
              <a:rPr sz="2400" spc="-3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ponerlo</a:t>
            </a:r>
            <a:r>
              <a:rPr sz="2400" spc="-15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en</a:t>
            </a:r>
            <a:r>
              <a:rPr sz="2400" spc="-6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spc="-10" dirty="0">
                <a:solidFill>
                  <a:srgbClr val="412C23"/>
                </a:solidFill>
                <a:latin typeface="Sitka Heading"/>
                <a:cs typeface="Sitka Heading"/>
              </a:rPr>
              <a:t>conocimiento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del</a:t>
            </a:r>
            <a:r>
              <a:rPr sz="2400" spc="-5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responsable</a:t>
            </a:r>
            <a:r>
              <a:rPr sz="2400" spc="-3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de</a:t>
            </a:r>
            <a:r>
              <a:rPr sz="2400" spc="-4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ventas</a:t>
            </a:r>
            <a:r>
              <a:rPr sz="2400" spc="-1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para</a:t>
            </a:r>
            <a:r>
              <a:rPr sz="2400" spc="-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juntos,</a:t>
            </a:r>
            <a:r>
              <a:rPr sz="2400" spc="-1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buscar</a:t>
            </a:r>
            <a:r>
              <a:rPr sz="2400" spc="-1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la</a:t>
            </a:r>
            <a:r>
              <a:rPr sz="2400" spc="5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mejor</a:t>
            </a:r>
            <a:r>
              <a:rPr sz="2400" spc="-7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solución</a:t>
            </a:r>
            <a:r>
              <a:rPr sz="2400" spc="2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para</a:t>
            </a:r>
            <a:r>
              <a:rPr sz="2400" spc="-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la</a:t>
            </a:r>
            <a:r>
              <a:rPr sz="2400" spc="5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tienda</a:t>
            </a:r>
            <a:r>
              <a:rPr sz="2400" spc="-9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y</a:t>
            </a:r>
            <a:r>
              <a:rPr sz="2400" spc="-2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spc="-25" dirty="0">
                <a:solidFill>
                  <a:srgbClr val="412C23"/>
                </a:solidFill>
                <a:latin typeface="Sitka Heading"/>
                <a:cs typeface="Sitka Heading"/>
              </a:rPr>
              <a:t>que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afecte</a:t>
            </a:r>
            <a:r>
              <a:rPr sz="2400" spc="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lo</a:t>
            </a:r>
            <a:r>
              <a:rPr sz="2400" spc="-2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menos</a:t>
            </a:r>
            <a:r>
              <a:rPr sz="2400" spc="-10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posible</a:t>
            </a:r>
            <a:r>
              <a:rPr sz="2400" spc="2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a</a:t>
            </a:r>
            <a:r>
              <a:rPr sz="2400" spc="-3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la</a:t>
            </a:r>
            <a:r>
              <a:rPr sz="2400" spc="4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spc="-10" dirty="0">
                <a:solidFill>
                  <a:srgbClr val="412C23"/>
                </a:solidFill>
                <a:latin typeface="Sitka Heading"/>
                <a:cs typeface="Sitka Heading"/>
              </a:rPr>
              <a:t>venta.</a:t>
            </a:r>
            <a:endParaRPr sz="2400">
              <a:latin typeface="Sitka Heading"/>
              <a:cs typeface="Sitka Heading"/>
            </a:endParaRPr>
          </a:p>
          <a:p>
            <a:pPr>
              <a:lnSpc>
                <a:spcPct val="100000"/>
              </a:lnSpc>
              <a:buClr>
                <a:srgbClr val="E18A67"/>
              </a:buClr>
              <a:buFont typeface="Calibri"/>
              <a:buChar char="-"/>
            </a:pPr>
            <a:endParaRPr sz="2400">
              <a:latin typeface="Sitka Heading"/>
              <a:cs typeface="Sitka Heading"/>
            </a:endParaRPr>
          </a:p>
          <a:p>
            <a:pPr marL="241300" indent="-229235">
              <a:lnSpc>
                <a:spcPct val="100000"/>
              </a:lnSpc>
              <a:spcBef>
                <a:spcPts val="1985"/>
              </a:spcBef>
              <a:buClr>
                <a:srgbClr val="E18A67"/>
              </a:buClr>
              <a:buFont typeface="Calibri"/>
              <a:buChar char="-"/>
              <a:tabLst>
                <a:tab pos="241300" algn="l"/>
                <a:tab pos="241935" algn="l"/>
              </a:tabLst>
            </a:pP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En</a:t>
            </a:r>
            <a:r>
              <a:rPr sz="2400" spc="1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cada</a:t>
            </a:r>
            <a:r>
              <a:rPr sz="2400" spc="-2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visita</a:t>
            </a:r>
            <a:r>
              <a:rPr sz="2400" spc="-1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a</a:t>
            </a:r>
            <a:r>
              <a:rPr sz="2400" spc="5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tienda,</a:t>
            </a:r>
            <a:r>
              <a:rPr sz="2400" spc="-7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involucrar al</a:t>
            </a:r>
            <a:r>
              <a:rPr sz="2400" spc="2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equipo</a:t>
            </a:r>
            <a:r>
              <a:rPr sz="2400" spc="-7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en</a:t>
            </a:r>
            <a:r>
              <a:rPr sz="2400" spc="-5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cada</a:t>
            </a:r>
            <a:r>
              <a:rPr sz="2400" spc="-2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cambio</a:t>
            </a:r>
            <a:r>
              <a:rPr sz="2400" spc="7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o</a:t>
            </a:r>
            <a:r>
              <a:rPr sz="2400" spc="-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toma</a:t>
            </a:r>
            <a:r>
              <a:rPr sz="2400" spc="5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de</a:t>
            </a:r>
            <a:r>
              <a:rPr sz="2400" spc="-5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decisiones,</a:t>
            </a:r>
            <a:r>
              <a:rPr sz="2400" spc="-15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spc="-20" dirty="0">
                <a:solidFill>
                  <a:srgbClr val="412C23"/>
                </a:solidFill>
                <a:latin typeface="Sitka Heading"/>
                <a:cs typeface="Sitka Heading"/>
              </a:rPr>
              <a:t>para</a:t>
            </a:r>
            <a:endParaRPr sz="2400">
              <a:latin typeface="Sitka Heading"/>
              <a:cs typeface="Sitka Heading"/>
            </a:endParaRPr>
          </a:p>
          <a:p>
            <a:pPr marL="241300">
              <a:lnSpc>
                <a:spcPct val="100000"/>
              </a:lnSpc>
              <a:spcBef>
                <a:spcPts val="275"/>
              </a:spcBef>
            </a:pP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que</a:t>
            </a:r>
            <a:r>
              <a:rPr sz="2400" spc="2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les</a:t>
            </a:r>
            <a:r>
              <a:rPr sz="2400" spc="-1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sirva</a:t>
            </a:r>
            <a:r>
              <a:rPr sz="2400" spc="-2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de</a:t>
            </a:r>
            <a:r>
              <a:rPr sz="2400" spc="-5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spc="-10" dirty="0">
                <a:solidFill>
                  <a:srgbClr val="412C23"/>
                </a:solidFill>
                <a:latin typeface="Sitka Heading"/>
                <a:cs typeface="Sitka Heading"/>
              </a:rPr>
              <a:t>formación.</a:t>
            </a:r>
            <a:endParaRPr sz="2400">
              <a:latin typeface="Sitka Heading"/>
              <a:cs typeface="Sitka Heading"/>
            </a:endParaRPr>
          </a:p>
          <a:p>
            <a:pPr marL="241300" marR="151765">
              <a:lnSpc>
                <a:spcPts val="3229"/>
              </a:lnSpc>
              <a:spcBef>
                <a:spcPts val="25"/>
              </a:spcBef>
            </a:pP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Una</a:t>
            </a:r>
            <a:r>
              <a:rPr sz="2400" spc="-2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plantilla</a:t>
            </a:r>
            <a:r>
              <a:rPr sz="2400" spc="7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de</a:t>
            </a:r>
            <a:r>
              <a:rPr sz="2400" spc="-4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tienda</a:t>
            </a:r>
            <a:r>
              <a:rPr sz="2400" spc="-7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involucrada</a:t>
            </a:r>
            <a:r>
              <a:rPr sz="2400" spc="8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e</a:t>
            </a:r>
            <a:r>
              <a:rPr sz="2400" spc="-4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ilusionada</a:t>
            </a:r>
            <a:r>
              <a:rPr sz="2400" spc="-7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por</a:t>
            </a:r>
            <a:r>
              <a:rPr sz="2400" spc="1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mantener</a:t>
            </a:r>
            <a:r>
              <a:rPr sz="2400" spc="-5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un</a:t>
            </a:r>
            <a:r>
              <a:rPr sz="2400" spc="-4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buen</a:t>
            </a:r>
            <a:r>
              <a:rPr sz="2400" spc="4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VM, asegura</a:t>
            </a:r>
            <a:r>
              <a:rPr sz="2400" spc="-6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spc="-25" dirty="0">
                <a:solidFill>
                  <a:srgbClr val="412C23"/>
                </a:solidFill>
                <a:latin typeface="Sitka Heading"/>
                <a:cs typeface="Sitka Heading"/>
              </a:rPr>
              <a:t>una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tienda</a:t>
            </a:r>
            <a:r>
              <a:rPr sz="2400" spc="-6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ordenada,</a:t>
            </a:r>
            <a:r>
              <a:rPr sz="2400" spc="-14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surtida,</a:t>
            </a:r>
            <a:r>
              <a:rPr sz="2400" spc="1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bonita</a:t>
            </a:r>
            <a:r>
              <a:rPr sz="2400" spc="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y</a:t>
            </a:r>
            <a:r>
              <a:rPr sz="2400" spc="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con</a:t>
            </a:r>
            <a:r>
              <a:rPr sz="2400" spc="5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las</a:t>
            </a:r>
            <a:r>
              <a:rPr sz="2400" spc="10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prendas</a:t>
            </a:r>
            <a:r>
              <a:rPr sz="2400" spc="-15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bien</a:t>
            </a:r>
            <a:r>
              <a:rPr sz="2400" spc="-10" dirty="0">
                <a:solidFill>
                  <a:srgbClr val="412C23"/>
                </a:solidFill>
                <a:latin typeface="Sitka Heading"/>
                <a:cs typeface="Sitka Heading"/>
              </a:rPr>
              <a:t> expuestas.</a:t>
            </a:r>
            <a:endParaRPr sz="2400">
              <a:latin typeface="Sitka Heading"/>
              <a:cs typeface="Sitka Heading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294640" y="267997"/>
            <a:ext cx="11529060" cy="5930726"/>
          </a:xfrm>
          <a:prstGeom prst="rect">
            <a:avLst/>
          </a:prstGeom>
        </p:spPr>
        <p:txBody>
          <a:bodyPr vert="horz" wrap="square" lIns="0" tIns="47625" rIns="0" bIns="0" rtlCol="0">
            <a:spAutoFit/>
          </a:bodyPr>
          <a:lstStyle/>
          <a:p>
            <a:pPr marL="241300" indent="-229235">
              <a:lnSpc>
                <a:spcPct val="100000"/>
              </a:lnSpc>
              <a:spcBef>
                <a:spcPts val="375"/>
              </a:spcBef>
              <a:buClr>
                <a:srgbClr val="E18A67"/>
              </a:buClr>
              <a:buFont typeface="Calibri"/>
              <a:buChar char="-"/>
              <a:tabLst>
                <a:tab pos="241300" algn="l"/>
                <a:tab pos="241935" algn="l"/>
              </a:tabLst>
            </a:pP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La</a:t>
            </a:r>
            <a:r>
              <a:rPr sz="2400" spc="-5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motivación</a:t>
            </a:r>
            <a:r>
              <a:rPr sz="2400" spc="2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de</a:t>
            </a:r>
            <a:r>
              <a:rPr sz="2400" spc="-6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los</a:t>
            </a:r>
            <a:r>
              <a:rPr sz="2400" spc="5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equipos,</a:t>
            </a:r>
            <a:r>
              <a:rPr sz="2400" spc="-9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ayudará</a:t>
            </a:r>
            <a:r>
              <a:rPr sz="2400" spc="-1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mucho</a:t>
            </a:r>
            <a:r>
              <a:rPr sz="2400" spc="6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a</a:t>
            </a:r>
            <a:r>
              <a:rPr sz="2400" spc="-2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la</a:t>
            </a:r>
            <a:r>
              <a:rPr sz="2400" spc="4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buena</a:t>
            </a:r>
            <a:r>
              <a:rPr sz="2400" spc="-2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exposición</a:t>
            </a:r>
            <a:r>
              <a:rPr sz="2400" spc="-17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del</a:t>
            </a:r>
            <a:r>
              <a:rPr sz="2400" spc="-4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producto.</a:t>
            </a:r>
            <a:r>
              <a:rPr sz="2400" spc="-1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spc="-10" dirty="0">
                <a:solidFill>
                  <a:srgbClr val="412C23"/>
                </a:solidFill>
                <a:latin typeface="Sitka Heading"/>
                <a:cs typeface="Sitka Heading"/>
              </a:rPr>
              <a:t>Podéis</a:t>
            </a:r>
            <a:endParaRPr sz="2400" dirty="0">
              <a:latin typeface="Sitka Heading"/>
              <a:cs typeface="Sitka Heading"/>
            </a:endParaRPr>
          </a:p>
          <a:p>
            <a:pPr marL="241300">
              <a:lnSpc>
                <a:spcPct val="100000"/>
              </a:lnSpc>
              <a:spcBef>
                <a:spcPts val="275"/>
              </a:spcBef>
            </a:pP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crear un</a:t>
            </a:r>
            <a:r>
              <a:rPr sz="2400" spc="-5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spc="-10" dirty="0">
                <a:solidFill>
                  <a:srgbClr val="412C23"/>
                </a:solidFill>
                <a:latin typeface="Sitka Heading"/>
                <a:cs typeface="Sitka Heading"/>
              </a:rPr>
              <a:t>"Top10"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de</a:t>
            </a:r>
            <a:r>
              <a:rPr sz="2400" spc="-6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las</a:t>
            </a:r>
            <a:r>
              <a:rPr sz="2400" spc="6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mejores</a:t>
            </a:r>
            <a:r>
              <a:rPr sz="2400" spc="-14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fotografías</a:t>
            </a:r>
            <a:r>
              <a:rPr sz="2400" spc="-2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de</a:t>
            </a:r>
            <a:r>
              <a:rPr sz="2400" spc="-4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cambios</a:t>
            </a:r>
            <a:r>
              <a:rPr sz="2400" spc="7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de</a:t>
            </a:r>
            <a:r>
              <a:rPr sz="2400" spc="-5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tiendas</a:t>
            </a:r>
            <a:r>
              <a:rPr sz="2400" spc="-8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y</a:t>
            </a:r>
            <a:r>
              <a:rPr sz="2400" spc="-2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compartirlas</a:t>
            </a:r>
            <a:r>
              <a:rPr sz="2400" spc="5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con</a:t>
            </a:r>
            <a:r>
              <a:rPr sz="2400" spc="3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todos los</a:t>
            </a:r>
            <a:r>
              <a:rPr sz="2400" spc="-1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equipos,</a:t>
            </a:r>
            <a:r>
              <a:rPr sz="2400" spc="-1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spc="-25" dirty="0">
                <a:solidFill>
                  <a:srgbClr val="412C23"/>
                </a:solidFill>
                <a:latin typeface="Sitka Heading"/>
                <a:cs typeface="Sitka Heading"/>
              </a:rPr>
              <a:t>pa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ra</a:t>
            </a:r>
            <a:r>
              <a:rPr sz="2400" spc="1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fomentar</a:t>
            </a:r>
            <a:r>
              <a:rPr sz="2400" spc="5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el</a:t>
            </a:r>
            <a:r>
              <a:rPr sz="2400" spc="-1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interés</a:t>
            </a:r>
            <a:r>
              <a:rPr sz="2400" spc="-13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por</a:t>
            </a:r>
            <a:r>
              <a:rPr sz="2400" spc="4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mantener</a:t>
            </a:r>
            <a:r>
              <a:rPr sz="2400" spc="-11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el</a:t>
            </a:r>
            <a:r>
              <a:rPr sz="2400" spc="-1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VM</a:t>
            </a:r>
            <a:r>
              <a:rPr sz="2400" spc="2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spc="-10" dirty="0">
                <a:solidFill>
                  <a:srgbClr val="412C23"/>
                </a:solidFill>
                <a:latin typeface="Sitka Heading"/>
                <a:cs typeface="Sitka Heading"/>
              </a:rPr>
              <a:t>perfecto.</a:t>
            </a:r>
            <a:r>
              <a:rPr lang="es-ES" sz="2400" spc="-10" dirty="0">
                <a:solidFill>
                  <a:srgbClr val="412C23"/>
                </a:solidFill>
                <a:latin typeface="Sitka Heading"/>
                <a:cs typeface="Sitka Heading"/>
              </a:rPr>
              <a:t> Posibilidad de maquetar un </a:t>
            </a:r>
            <a:r>
              <a:rPr lang="es-ES" sz="2400" spc="-10" dirty="0" err="1">
                <a:solidFill>
                  <a:srgbClr val="412C23"/>
                </a:solidFill>
                <a:latin typeface="Sitka Heading"/>
                <a:cs typeface="Sitka Heading"/>
              </a:rPr>
              <a:t>challenge</a:t>
            </a:r>
            <a:r>
              <a:rPr lang="es-ES" sz="2400" spc="-10" dirty="0">
                <a:solidFill>
                  <a:srgbClr val="412C23"/>
                </a:solidFill>
                <a:latin typeface="Sitka Heading"/>
                <a:cs typeface="Sitka Heading"/>
              </a:rPr>
              <a:t> o participar del del operaciones ventas. </a:t>
            </a:r>
            <a:endParaRPr sz="2400" dirty="0">
              <a:latin typeface="Sitka Heading"/>
              <a:cs typeface="Sitka Heading"/>
            </a:endParaRPr>
          </a:p>
          <a:p>
            <a:pPr>
              <a:lnSpc>
                <a:spcPct val="100000"/>
              </a:lnSpc>
            </a:pPr>
            <a:endParaRPr sz="2400" dirty="0">
              <a:latin typeface="Sitka Heading"/>
              <a:cs typeface="Sitka Heading"/>
            </a:endParaRPr>
          </a:p>
          <a:p>
            <a:pPr marL="241300" marR="130810" indent="-229235">
              <a:lnSpc>
                <a:spcPct val="109500"/>
              </a:lnSpc>
              <a:spcBef>
                <a:spcPts val="1785"/>
              </a:spcBef>
              <a:buClr>
                <a:srgbClr val="E18A67"/>
              </a:buClr>
              <a:buFont typeface="Calibri"/>
              <a:buChar char="-"/>
              <a:tabLst>
                <a:tab pos="241300" algn="l"/>
                <a:tab pos="241935" algn="l"/>
              </a:tabLst>
            </a:pP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Estas</a:t>
            </a:r>
            <a:r>
              <a:rPr sz="2400" spc="7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fotos del</a:t>
            </a:r>
            <a:r>
              <a:rPr sz="2400" spc="-3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"Top10", se</a:t>
            </a:r>
            <a:r>
              <a:rPr sz="2400" spc="-5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deberán</a:t>
            </a:r>
            <a:r>
              <a:rPr sz="2400" spc="-2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elegir</a:t>
            </a:r>
            <a:r>
              <a:rPr sz="2400" spc="-13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con</a:t>
            </a:r>
            <a:r>
              <a:rPr sz="2400" spc="4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el</a:t>
            </a:r>
            <a:r>
              <a:rPr sz="2400" spc="-3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departamento</a:t>
            </a:r>
            <a:r>
              <a:rPr sz="2400" spc="-4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de</a:t>
            </a:r>
            <a:r>
              <a:rPr sz="2400" spc="3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ventas</a:t>
            </a:r>
            <a:r>
              <a:rPr sz="2400" spc="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y</a:t>
            </a:r>
            <a:r>
              <a:rPr sz="2400" spc="-1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de</a:t>
            </a:r>
            <a:r>
              <a:rPr sz="2400" spc="-3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spc="-10" dirty="0">
                <a:solidFill>
                  <a:srgbClr val="412C23"/>
                </a:solidFill>
                <a:latin typeface="Sitka Heading"/>
                <a:cs typeface="Sitka Heading"/>
              </a:rPr>
              <a:t>marketing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para</a:t>
            </a:r>
            <a:r>
              <a:rPr sz="2400" spc="-1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asegurar</a:t>
            </a:r>
            <a:r>
              <a:rPr sz="2400" spc="-7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que</a:t>
            </a:r>
            <a:r>
              <a:rPr sz="2400" spc="3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todos consideran</a:t>
            </a:r>
            <a:r>
              <a:rPr sz="2400" spc="-12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que</a:t>
            </a:r>
            <a:r>
              <a:rPr sz="2400" spc="3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se</a:t>
            </a:r>
            <a:r>
              <a:rPr sz="2400" spc="4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cumplen</a:t>
            </a:r>
            <a:r>
              <a:rPr sz="2400" spc="4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el</a:t>
            </a:r>
            <a:r>
              <a:rPr sz="2400" spc="-3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100%</a:t>
            </a:r>
            <a:r>
              <a:rPr sz="2400" spc="-6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de</a:t>
            </a:r>
            <a:r>
              <a:rPr sz="2400" spc="-3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los</a:t>
            </a:r>
            <a:r>
              <a:rPr sz="2400" spc="-1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standars</a:t>
            </a:r>
            <a:r>
              <a:rPr sz="2400" spc="-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de</a:t>
            </a:r>
            <a:r>
              <a:rPr sz="2400" spc="-3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spc="-10" dirty="0">
                <a:solidFill>
                  <a:srgbClr val="412C23"/>
                </a:solidFill>
                <a:latin typeface="Sitka Heading"/>
                <a:cs typeface="Sitka Heading"/>
              </a:rPr>
              <a:t>imagen.</a:t>
            </a:r>
            <a:endParaRPr sz="2400" dirty="0">
              <a:latin typeface="Sitka Heading"/>
              <a:cs typeface="Sitka Heading"/>
            </a:endParaRPr>
          </a:p>
          <a:p>
            <a:pPr>
              <a:lnSpc>
                <a:spcPct val="100000"/>
              </a:lnSpc>
              <a:spcBef>
                <a:spcPts val="45"/>
              </a:spcBef>
              <a:buClr>
                <a:srgbClr val="E18A67"/>
              </a:buClr>
              <a:buFont typeface="Calibri"/>
              <a:buChar char="-"/>
            </a:pPr>
            <a:endParaRPr sz="3550" dirty="0">
              <a:latin typeface="Sitka Heading"/>
              <a:cs typeface="Sitka Heading"/>
            </a:endParaRPr>
          </a:p>
          <a:p>
            <a:pPr marL="241300" marR="5080" indent="-229235">
              <a:lnSpc>
                <a:spcPct val="110000"/>
              </a:lnSpc>
              <a:buClr>
                <a:srgbClr val="E18A67"/>
              </a:buClr>
              <a:buFont typeface="Calibri"/>
              <a:buChar char="-"/>
              <a:tabLst>
                <a:tab pos="241300" algn="l"/>
                <a:tab pos="241935" algn="l"/>
              </a:tabLst>
            </a:pP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Estar</a:t>
            </a:r>
            <a:r>
              <a:rPr sz="2400" spc="9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al</a:t>
            </a:r>
            <a:r>
              <a:rPr sz="2400" spc="-2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día</a:t>
            </a:r>
            <a:r>
              <a:rPr sz="2400" spc="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de</a:t>
            </a:r>
            <a:r>
              <a:rPr sz="2400" spc="-3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las</a:t>
            </a:r>
            <a:r>
              <a:rPr sz="2400" spc="11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diferentes</a:t>
            </a:r>
            <a:r>
              <a:rPr sz="2400" spc="-21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estrategias</a:t>
            </a:r>
            <a:r>
              <a:rPr sz="2400" spc="3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de</a:t>
            </a:r>
            <a:r>
              <a:rPr sz="2400" spc="-3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VM</a:t>
            </a:r>
            <a:r>
              <a:rPr sz="2400" spc="1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y</a:t>
            </a:r>
            <a:r>
              <a:rPr sz="2400" spc="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formas</a:t>
            </a:r>
            <a:r>
              <a:rPr sz="2400" spc="1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de</a:t>
            </a:r>
            <a:r>
              <a:rPr sz="2400" spc="-2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exponer</a:t>
            </a:r>
            <a:r>
              <a:rPr sz="2400" spc="-114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el</a:t>
            </a:r>
            <a:r>
              <a:rPr sz="2400" spc="-2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producto</a:t>
            </a:r>
            <a:r>
              <a:rPr sz="2400" spc="1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de</a:t>
            </a:r>
            <a:r>
              <a:rPr sz="2400" spc="-2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spc="-10" dirty="0">
                <a:solidFill>
                  <a:srgbClr val="412C23"/>
                </a:solidFill>
                <a:latin typeface="Sitka Heading"/>
                <a:cs typeface="Sitka Heading"/>
              </a:rPr>
              <a:t>otras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marcas/empresas,</a:t>
            </a:r>
            <a:r>
              <a:rPr sz="2400" spc="-1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es</a:t>
            </a:r>
            <a:r>
              <a:rPr sz="2400" spc="-9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un</a:t>
            </a:r>
            <a:r>
              <a:rPr sz="2400" spc="1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muy</a:t>
            </a:r>
            <a:r>
              <a:rPr sz="2400" spc="-3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importante</a:t>
            </a:r>
            <a:r>
              <a:rPr sz="2400" spc="3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para</a:t>
            </a:r>
            <a:r>
              <a:rPr sz="2400" spc="-1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un</a:t>
            </a:r>
            <a:r>
              <a:rPr sz="2400" spc="2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responsable</a:t>
            </a:r>
            <a:r>
              <a:rPr sz="2400" spc="-4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de</a:t>
            </a:r>
            <a:r>
              <a:rPr sz="2400" spc="-5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zona</a:t>
            </a:r>
            <a:r>
              <a:rPr sz="2400" spc="-9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por lo</a:t>
            </a:r>
            <a:r>
              <a:rPr sz="2400" spc="-1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que</a:t>
            </a:r>
            <a:r>
              <a:rPr sz="2400" spc="2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una</a:t>
            </a:r>
            <a:r>
              <a:rPr sz="2400" spc="-1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spc="-25" dirty="0">
                <a:solidFill>
                  <a:srgbClr val="412C23"/>
                </a:solidFill>
                <a:latin typeface="Sitka Heading"/>
                <a:cs typeface="Sitka Heading"/>
              </a:rPr>
              <a:t>vez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a</a:t>
            </a:r>
            <a:r>
              <a:rPr sz="2400" spc="-2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la</a:t>
            </a:r>
            <a:r>
              <a:rPr sz="2400" spc="7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semana,</a:t>
            </a:r>
            <a:r>
              <a:rPr sz="2400" spc="-7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sería</a:t>
            </a:r>
            <a:r>
              <a:rPr sz="2400" spc="-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bueno</a:t>
            </a:r>
            <a:r>
              <a:rPr sz="2400" spc="-7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invertir</a:t>
            </a:r>
            <a:r>
              <a:rPr sz="2400" spc="-6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una</a:t>
            </a:r>
            <a:r>
              <a:rPr sz="2400" spc="-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hora a</a:t>
            </a:r>
            <a:r>
              <a:rPr sz="2400" spc="-2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realizar</a:t>
            </a:r>
            <a:r>
              <a:rPr sz="2400" spc="-7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visitas</a:t>
            </a:r>
            <a:r>
              <a:rPr sz="2400" spc="8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a</a:t>
            </a:r>
            <a:r>
              <a:rPr sz="2400" spc="-1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la</a:t>
            </a:r>
            <a:r>
              <a:rPr sz="2400" spc="7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competencia</a:t>
            </a:r>
            <a:r>
              <a:rPr sz="2400" spc="-9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(tanto</a:t>
            </a:r>
            <a:r>
              <a:rPr sz="2400" spc="8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a </a:t>
            </a:r>
            <a:r>
              <a:rPr sz="2400" spc="-25" dirty="0">
                <a:solidFill>
                  <a:srgbClr val="412C23"/>
                </a:solidFill>
                <a:latin typeface="Sitka Heading"/>
                <a:cs typeface="Sitka Heading"/>
              </a:rPr>
              <a:t>las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tiendas</a:t>
            </a:r>
            <a:r>
              <a:rPr sz="2400" spc="-10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que</a:t>
            </a:r>
            <a:r>
              <a:rPr sz="2400" spc="4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vendan</a:t>
            </a:r>
            <a:r>
              <a:rPr sz="2400" spc="-5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productos similares</a:t>
            </a:r>
            <a:r>
              <a:rPr sz="2400" spc="-8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a</a:t>
            </a:r>
            <a:r>
              <a:rPr sz="2400" spc="5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los</a:t>
            </a:r>
            <a:r>
              <a:rPr sz="2400" spc="-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nuestros</a:t>
            </a:r>
            <a:r>
              <a:rPr sz="2400" spc="-7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como</a:t>
            </a:r>
            <a:r>
              <a:rPr sz="2400" spc="6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las</a:t>
            </a:r>
            <a:r>
              <a:rPr sz="2400" spc="-1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que</a:t>
            </a:r>
            <a:r>
              <a:rPr sz="2400" spc="2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no),</a:t>
            </a:r>
            <a:r>
              <a:rPr sz="2400" spc="-9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para</a:t>
            </a:r>
            <a:r>
              <a:rPr sz="2400" spc="-1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spc="-10" dirty="0">
                <a:solidFill>
                  <a:srgbClr val="412C23"/>
                </a:solidFill>
                <a:latin typeface="Sitka Heading"/>
                <a:cs typeface="Sitka Heading"/>
              </a:rPr>
              <a:t>chequear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como</a:t>
            </a:r>
            <a:r>
              <a:rPr sz="2400" spc="-1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desarrollan</a:t>
            </a:r>
            <a:r>
              <a:rPr sz="2400" spc="3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sus</a:t>
            </a:r>
            <a:r>
              <a:rPr sz="2400" spc="-2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estrategias</a:t>
            </a:r>
            <a:r>
              <a:rPr sz="2400" spc="-10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de</a:t>
            </a:r>
            <a:r>
              <a:rPr sz="2400" spc="1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VM</a:t>
            </a:r>
            <a:r>
              <a:rPr sz="2400" spc="-8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y</a:t>
            </a:r>
            <a:r>
              <a:rPr sz="2400" spc="4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marketing</a:t>
            </a:r>
            <a:r>
              <a:rPr sz="2400" spc="-7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y como</a:t>
            </a:r>
            <a:r>
              <a:rPr sz="2400" spc="-1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usan</a:t>
            </a:r>
            <a:r>
              <a:rPr sz="2400" spc="1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los</a:t>
            </a:r>
            <a:r>
              <a:rPr sz="2400" spc="-10" dirty="0">
                <a:solidFill>
                  <a:srgbClr val="412C23"/>
                </a:solidFill>
                <a:latin typeface="Sitka Heading"/>
                <a:cs typeface="Sitka Heading"/>
              </a:rPr>
              <a:t> diferentes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materiales</a:t>
            </a:r>
            <a:r>
              <a:rPr sz="2400" spc="1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para</a:t>
            </a:r>
            <a:r>
              <a:rPr sz="2400" spc="1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exponer</a:t>
            </a:r>
            <a:r>
              <a:rPr sz="2400" spc="-120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dirty="0">
                <a:solidFill>
                  <a:srgbClr val="412C23"/>
                </a:solidFill>
                <a:latin typeface="Sitka Heading"/>
                <a:cs typeface="Sitka Heading"/>
              </a:rPr>
              <a:t>sus</a:t>
            </a:r>
            <a:r>
              <a:rPr sz="2400" spc="5" dirty="0">
                <a:solidFill>
                  <a:srgbClr val="412C23"/>
                </a:solidFill>
                <a:latin typeface="Sitka Heading"/>
                <a:cs typeface="Sitka Heading"/>
              </a:rPr>
              <a:t> </a:t>
            </a:r>
            <a:r>
              <a:rPr sz="2400" spc="-10" dirty="0">
                <a:solidFill>
                  <a:srgbClr val="412C23"/>
                </a:solidFill>
                <a:latin typeface="Sitka Heading"/>
                <a:cs typeface="Sitka Heading"/>
              </a:rPr>
              <a:t>productos.</a:t>
            </a:r>
            <a:endParaRPr sz="2400" dirty="0">
              <a:latin typeface="Sitka Heading"/>
              <a:cs typeface="Sitka Heading"/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</TotalTime>
  <Words>777</Words>
  <Application>Microsoft Office PowerPoint</Application>
  <PresentationFormat>Panorámica</PresentationFormat>
  <Paragraphs>42</Paragraphs>
  <Slides>6</Slides>
  <Notes>0</Notes>
  <HiddenSlides>0</HiddenSlides>
  <MMClips>0</MMClips>
  <ScaleCrop>false</ScaleCrop>
  <HeadingPairs>
    <vt:vector size="8" baseType="variant">
      <vt:variant>
        <vt:lpstr>Fuentes usadas</vt:lpstr>
      </vt:variant>
      <vt:variant>
        <vt:i4>2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6</vt:i4>
      </vt:variant>
    </vt:vector>
  </HeadingPairs>
  <TitlesOfParts>
    <vt:vector size="10" baseType="lpstr">
      <vt:lpstr>Calibri</vt:lpstr>
      <vt:lpstr>Sitka Heading</vt:lpstr>
      <vt:lpstr>Office Theme</vt:lpstr>
      <vt:lpstr>Diapositiva de think-cell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cp:lastModifiedBy>andres rendo sanchez</cp:lastModifiedBy>
  <cp:revision>1</cp:revision>
  <dcterms:created xsi:type="dcterms:W3CDTF">2023-01-27T00:14:04Z</dcterms:created>
  <dcterms:modified xsi:type="dcterms:W3CDTF">2024-01-29T23:41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3-01-26T00:00:00Z</vt:filetime>
  </property>
  <property fmtid="{D5CDD505-2E9C-101B-9397-08002B2CF9AE}" pid="3" name="LastSaved">
    <vt:filetime>2023-01-27T00:00:00Z</vt:filetime>
  </property>
</Properties>
</file>